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5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7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8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0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11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2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13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4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5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6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7.xml" ContentType="application/vnd.openxmlformats-officedocument.theme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8.xml" ContentType="application/vnd.openxmlformats-officedocument.theme+xml"/>
  <Override PartName="/ppt/slideLayouts/slideLayout163.xml" ContentType="application/vnd.openxmlformats-officedocument.presentationml.slideLayout+xml"/>
  <Override PartName="/ppt/theme/theme19.xml" ContentType="application/vnd.openxmlformats-officedocument.theme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20.xml" ContentType="application/vnd.openxmlformats-officedocument.theme+xml"/>
  <Override PartName="/ppt/slideLayouts/slideLayout166.xml" ContentType="application/vnd.openxmlformats-officedocument.presentationml.slideLayout+xml"/>
  <Override PartName="/ppt/theme/theme21.xml" ContentType="application/vnd.openxmlformats-officedocument.them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22.xml" ContentType="application/vnd.openxmlformats-officedocument.theme+xml"/>
  <Override PartName="/ppt/slideLayouts/slideLayout169.xml" ContentType="application/vnd.openxmlformats-officedocument.presentationml.slideLayout+xml"/>
  <Override PartName="/ppt/theme/theme23.xml" ContentType="application/vnd.openxmlformats-officedocument.theme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24.xml" ContentType="application/vnd.openxmlformats-officedocument.theme+xml"/>
  <Override PartName="/ppt/slideLayouts/slideLayout172.xml" ContentType="application/vnd.openxmlformats-officedocument.presentationml.slideLayout+xml"/>
  <Override PartName="/ppt/theme/theme25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26.xml" ContentType="application/vnd.openxmlformats-officedocument.theme+xml"/>
  <Override PartName="/ppt/slideLayouts/slideLayout175.xml" ContentType="application/vnd.openxmlformats-officedocument.presentationml.slideLayout+xml"/>
  <Override PartName="/ppt/theme/theme27.xml" ContentType="application/vnd.openxmlformats-officedocument.theme+xml"/>
  <Override PartName="/ppt/slideLayouts/slideLayout176.xml" ContentType="application/vnd.openxmlformats-officedocument.presentationml.slideLayout+xml"/>
  <Override PartName="/ppt/theme/theme28.xml" ContentType="application/vnd.openxmlformats-officedocument.theme+xml"/>
  <Override PartName="/ppt/slideLayouts/slideLayout177.xml" ContentType="application/vnd.openxmlformats-officedocument.presentationml.slideLayout+xml"/>
  <Override PartName="/ppt/theme/theme29.xml" ContentType="application/vnd.openxmlformats-officedocument.theme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30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31.xml" ContentType="application/vnd.openxmlformats-officedocument.theme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32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33.xml" ContentType="application/vnd.openxmlformats-officedocument.theme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34.xml" ContentType="application/vnd.openxmlformats-officedocument.theme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35.xml" ContentType="application/vnd.openxmlformats-officedocument.theme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theme/theme36.xml" ContentType="application/vnd.openxmlformats-officedocument.theme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heme/theme37.xml" ContentType="application/vnd.openxmlformats-officedocument.theme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heme/theme38.xml" ContentType="application/vnd.openxmlformats-officedocument.theme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39.xml" ContentType="application/vnd.openxmlformats-officedocument.theme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theme/theme40.xml" ContentType="application/vnd.openxmlformats-officedocument.theme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theme/theme41.xml" ContentType="application/vnd.openxmlformats-officedocument.theme+xml"/>
  <Override PartName="/ppt/slideLayouts/slideLayout310.xml" ContentType="application/vnd.openxmlformats-officedocument.presentationml.slideLayout+xml"/>
  <Override PartName="/ppt/theme/theme42.xml" ContentType="application/vnd.openxmlformats-officedocument.theme+xml"/>
  <Override PartName="/ppt/slideLayouts/slideLayout311.xml" ContentType="application/vnd.openxmlformats-officedocument.presentationml.slideLayout+xml"/>
  <Override PartName="/ppt/theme/theme43.xml" ContentType="application/vnd.openxmlformats-officedocument.theme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theme/theme44.xml" ContentType="application/vnd.openxmlformats-officedocument.theme+xml"/>
  <Override PartName="/ppt/theme/theme45.xml" ContentType="application/vnd.openxmlformats-officedocument.theme+xml"/>
  <Override PartName="/ppt/theme/theme4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  <p:sldMasterId id="2147483685" r:id="rId2"/>
    <p:sldMasterId id="2147483705" r:id="rId3"/>
    <p:sldMasterId id="2147483715" r:id="rId4"/>
    <p:sldMasterId id="2147483716" r:id="rId5"/>
    <p:sldMasterId id="2147483717" r:id="rId6"/>
    <p:sldMasterId id="2147483718" r:id="rId7"/>
    <p:sldMasterId id="2147483719" r:id="rId8"/>
    <p:sldMasterId id="2147483720" r:id="rId9"/>
    <p:sldMasterId id="2147483721" r:id="rId10"/>
    <p:sldMasterId id="2147483722" r:id="rId11"/>
    <p:sldMasterId id="2147483723" r:id="rId12"/>
    <p:sldMasterId id="2147483724" r:id="rId13"/>
    <p:sldMasterId id="2147483725" r:id="rId14"/>
    <p:sldMasterId id="2147483726" r:id="rId15"/>
    <p:sldMasterId id="2147483727" r:id="rId16"/>
    <p:sldMasterId id="2147483728" r:id="rId17"/>
    <p:sldMasterId id="2147483661" r:id="rId18"/>
    <p:sldMasterId id="2147483701" r:id="rId19"/>
    <p:sldMasterId id="2147483664" r:id="rId20"/>
    <p:sldMasterId id="2147483699" r:id="rId21"/>
    <p:sldMasterId id="2147483666" r:id="rId22"/>
    <p:sldMasterId id="2147483697" r:id="rId23"/>
    <p:sldMasterId id="2147483668" r:id="rId24"/>
    <p:sldMasterId id="2147483695" r:id="rId25"/>
    <p:sldMasterId id="2147483670" r:id="rId26"/>
    <p:sldMasterId id="2147483693" r:id="rId27"/>
    <p:sldMasterId id="2147483681" r:id="rId28"/>
    <p:sldMasterId id="2147483689" r:id="rId29"/>
    <p:sldMasterId id="2147483730" r:id="rId30"/>
    <p:sldMasterId id="2147483731" r:id="rId31"/>
    <p:sldMasterId id="2147483732" r:id="rId32"/>
    <p:sldMasterId id="2147483733" r:id="rId33"/>
    <p:sldMasterId id="2147483734" r:id="rId34"/>
    <p:sldMasterId id="2147483729" r:id="rId35"/>
    <p:sldMasterId id="2147483735" r:id="rId36"/>
    <p:sldMasterId id="2147483736" r:id="rId37"/>
    <p:sldMasterId id="2147483739" r:id="rId38"/>
    <p:sldMasterId id="2147483740" r:id="rId39"/>
    <p:sldMasterId id="2147483741" r:id="rId40"/>
    <p:sldMasterId id="2147483742" r:id="rId41"/>
    <p:sldMasterId id="2147484074" r:id="rId42"/>
    <p:sldMasterId id="2147484081" r:id="rId43"/>
    <p:sldMasterId id="2147488703" r:id="rId44"/>
  </p:sldMasterIdLst>
  <p:notesMasterIdLst>
    <p:notesMasterId r:id="rId56"/>
  </p:notesMasterIdLst>
  <p:handoutMasterIdLst>
    <p:handoutMasterId r:id="rId57"/>
  </p:handoutMasterIdLst>
  <p:sldIdLst>
    <p:sldId id="480" r:id="rId45"/>
    <p:sldId id="481" r:id="rId46"/>
    <p:sldId id="482" r:id="rId47"/>
    <p:sldId id="483" r:id="rId48"/>
    <p:sldId id="484" r:id="rId49"/>
    <p:sldId id="485" r:id="rId50"/>
    <p:sldId id="486" r:id="rId51"/>
    <p:sldId id="487" r:id="rId52"/>
    <p:sldId id="488" r:id="rId53"/>
    <p:sldId id="489" r:id="rId54"/>
    <p:sldId id="490" r:id="rId55"/>
  </p:sldIdLst>
  <p:sldSz cx="9144000" cy="6858000" type="screen4x3"/>
  <p:notesSz cx="6797675" cy="9926638"/>
  <p:defaultTextStyle>
    <a:defPPr>
      <a:defRPr lang="pl-P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gdalena Kochanowska" initials="MK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1C5C"/>
    <a:srgbClr val="5564D3"/>
    <a:srgbClr val="11897D"/>
    <a:srgbClr val="2A3990"/>
    <a:srgbClr val="4D4D4D"/>
    <a:srgbClr val="0F0102"/>
    <a:srgbClr val="D98027"/>
    <a:srgbClr val="808080"/>
    <a:srgbClr val="E740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Styl jasny 2 — Ak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940675A-B579-460E-94D1-54222C63F5DA}" styleName="Bez stylu, siatka tabeli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55" autoAdjust="0"/>
    <p:restoredTop sz="94668" autoAdjust="0"/>
  </p:normalViewPr>
  <p:slideViewPr>
    <p:cSldViewPr>
      <p:cViewPr varScale="1">
        <p:scale>
          <a:sx n="49" d="100"/>
          <a:sy n="49" d="100"/>
        </p:scale>
        <p:origin x="42" y="60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5" d="100"/>
        <a:sy n="85" d="100"/>
      </p:scale>
      <p:origin x="0" y="0"/>
    </p:cViewPr>
  </p:sorterViewPr>
  <p:notesViewPr>
    <p:cSldViewPr>
      <p:cViewPr varScale="1">
        <p:scale>
          <a:sx n="57" d="100"/>
          <a:sy n="57" d="100"/>
        </p:scale>
        <p:origin x="-2508" y="-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Master" Target="slideMasters/slideMaster39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slideMaster" Target="slideMasters/slideMaster42.xml"/><Relationship Id="rId47" Type="http://schemas.openxmlformats.org/officeDocument/2006/relationships/slide" Target="slides/slide3.xml"/><Relationship Id="rId50" Type="http://schemas.openxmlformats.org/officeDocument/2006/relationships/slide" Target="slides/slide6.xml"/><Relationship Id="rId55" Type="http://schemas.openxmlformats.org/officeDocument/2006/relationships/slide" Target="slides/slide1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slideMaster" Target="slideMasters/slideMaster40.xml"/><Relationship Id="rId45" Type="http://schemas.openxmlformats.org/officeDocument/2006/relationships/slide" Target="slides/slide1.xml"/><Relationship Id="rId53" Type="http://schemas.openxmlformats.org/officeDocument/2006/relationships/slide" Target="slides/slide9.xml"/><Relationship Id="rId58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61" Type="http://schemas.openxmlformats.org/officeDocument/2006/relationships/theme" Target="theme/theme1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Master" Target="slideMasters/slideMaster43.xml"/><Relationship Id="rId48" Type="http://schemas.openxmlformats.org/officeDocument/2006/relationships/slide" Target="slides/slide4.xml"/><Relationship Id="rId56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7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" Target="slides/slide2.xml"/><Relationship Id="rId59" Type="http://schemas.openxmlformats.org/officeDocument/2006/relationships/presProps" Target="presProps.xml"/><Relationship Id="rId20" Type="http://schemas.openxmlformats.org/officeDocument/2006/relationships/slideMaster" Target="slideMasters/slideMaster20.xml"/><Relationship Id="rId41" Type="http://schemas.openxmlformats.org/officeDocument/2006/relationships/slideMaster" Target="slideMasters/slideMaster41.xml"/><Relationship Id="rId54" Type="http://schemas.openxmlformats.org/officeDocument/2006/relationships/slide" Target="slides/slide10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" Target="slides/slide5.xml"/><Relationship Id="rId57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Master" Target="slideMasters/slideMaster44.xml"/><Relationship Id="rId52" Type="http://schemas.openxmlformats.org/officeDocument/2006/relationships/slide" Target="slides/slide8.xml"/><Relationship Id="rId60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7133841C-1D41-4C64-A4B9-AFA77302E20F}" type="datetimeFigureOut">
              <a:rPr lang="pl-PL"/>
              <a:pPr>
                <a:defRPr/>
              </a:pPr>
              <a:t>25.03.2019</a:t>
            </a:fld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B008C14-C066-4262-8DF9-72A5EB355475}" type="slidenum">
              <a:rPr lang="pl-PL"/>
              <a:pPr>
                <a:defRPr/>
              </a:pPr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282789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C4E1357-CCDE-41B1-A2C8-8727157000AD}" type="datetimeFigureOut">
              <a:rPr lang="pl-PL"/>
              <a:pPr>
                <a:defRPr/>
              </a:pPr>
              <a:t>25.03.2019</a:t>
            </a:fld>
            <a:endParaRPr lang="pl-PL" dirty="0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4538"/>
            <a:ext cx="4965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l-PL" noProof="0" dirty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pl-PL" noProof="0" smtClean="0"/>
              <a:t>Kliknij, aby edytować style wzorca tekstu</a:t>
            </a:r>
          </a:p>
          <a:p>
            <a:pPr lvl="1"/>
            <a:r>
              <a:rPr lang="pl-PL" noProof="0" smtClean="0"/>
              <a:t>Drugi poziom</a:t>
            </a:r>
          </a:p>
          <a:p>
            <a:pPr lvl="2"/>
            <a:r>
              <a:rPr lang="pl-PL" noProof="0" smtClean="0"/>
              <a:t>Trzeci poziom</a:t>
            </a:r>
          </a:p>
          <a:p>
            <a:pPr lvl="3"/>
            <a:r>
              <a:rPr lang="pl-PL" noProof="0" smtClean="0"/>
              <a:t>Czwarty poziom</a:t>
            </a:r>
          </a:p>
          <a:p>
            <a:pPr lvl="4"/>
            <a:r>
              <a:rPr lang="pl-PL" noProof="0" smtClean="0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402381B-77C1-47E8-AA95-561A59933F40}" type="slidenum">
              <a:rPr lang="pl-PL"/>
              <a:pPr>
                <a:defRPr/>
              </a:pPr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21854238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8.png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11.png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2.xml"/><Relationship Id="rId4" Type="http://schemas.openxmlformats.org/officeDocument/2006/relationships/image" Target="../media/image14.png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4.xml"/><Relationship Id="rId4" Type="http://schemas.openxmlformats.org/officeDocument/2006/relationships/image" Target="../media/image17.png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6.xml"/><Relationship Id="rId4" Type="http://schemas.openxmlformats.org/officeDocument/2006/relationships/image" Target="../media/image20.png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2.xml"/><Relationship Id="rId4" Type="http://schemas.openxmlformats.org/officeDocument/2006/relationships/image" Target="../media/image44.png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3.xml"/><Relationship Id="rId4" Type="http://schemas.openxmlformats.org/officeDocument/2006/relationships/image" Target="../media/image47.png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85317748"/>
      </p:ext>
    </p:extLst>
  </p:cSld>
  <p:clrMapOvr>
    <a:masterClrMapping/>
  </p:clrMapOvr>
  <p:hf sldNum="0"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464753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35605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475058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8066747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52628893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1673244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0212991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2404797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7583908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18265002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697891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6163262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21132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9562494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733050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6979748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63520350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8013317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7540090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6355806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2608857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138859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7578614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2190558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9913443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8818593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387388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13007597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04439478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3585483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7073034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5243546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246152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740656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8561046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0270611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00627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681855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497151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10156449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79621906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8741811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025704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756548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72682591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445947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76704102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2914688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3303497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1091678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383795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12294753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951034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6078845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448724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0350127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2183361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194710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94744412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7912371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856948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1990215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007330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10119528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35369312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927451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7461614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3441353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2791947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ramka_slajd pomarańcz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7900" cy="630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6BB54CF6-2CF0-4224-B416-6AACF3A0D2B4}" type="slidenum">
              <a:rPr lang="pl-PL" sz="1200" b="1" smtClean="0">
                <a:solidFill>
                  <a:srgbClr val="F36B23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F36B23"/>
              </a:solidFill>
            </a:endParaRPr>
          </a:p>
        </p:txBody>
      </p:sp>
      <p:sp>
        <p:nvSpPr>
          <p:cNvPr id="3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692150"/>
            <a:ext cx="7272288" cy="79216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F36B2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4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43212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F36B2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F36B23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3950857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1624777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6873157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ramka_slajd żółt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7900" cy="630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CC53F964-D04E-4997-A598-90338271AE1C}" type="slidenum">
              <a:rPr lang="pl-PL" sz="1200" b="1" smtClean="0">
                <a:solidFill>
                  <a:srgbClr val="FCB319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FCB319"/>
              </a:solidFill>
            </a:endParaRPr>
          </a:p>
        </p:txBody>
      </p:sp>
      <p:pic>
        <p:nvPicPr>
          <p:cNvPr id="7" name="Picture 3" descr="kreska pionow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692150"/>
            <a:ext cx="7272288" cy="79216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FCB31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4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43212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FCB31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FCB319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2330561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9141618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4644097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ramka_slajd róż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7900" cy="630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kreska pionow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4541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D9111DD2-DF12-4789-A2A1-BC6CF59B69ED}" type="slidenum">
              <a:rPr lang="pl-PL" sz="1200" b="1" smtClean="0">
                <a:solidFill>
                  <a:srgbClr val="EF5594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EF5594"/>
              </a:solidFill>
            </a:endParaRPr>
          </a:p>
        </p:txBody>
      </p:sp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0"/>
            <a:ext cx="7272288" cy="792087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EF559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60040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EF559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EF5594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49029302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65833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3283342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0648418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amka_slajd fiolet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60350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495425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378EF192-3813-4F61-9396-6AF9E2A1F78D}" type="slidenum">
              <a:rPr lang="pl-PL" sz="1200" b="1" smtClean="0">
                <a:solidFill>
                  <a:srgbClr val="424CA0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424CA0"/>
              </a:solidFill>
            </a:endParaRPr>
          </a:p>
        </p:txBody>
      </p:sp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424C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424C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424CA0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02844500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4886761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258174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amka_slajd turkus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60350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6BDC6487-B0D1-45F3-8602-7D123E6E933A}" type="slidenum">
              <a:rPr lang="pl-PL" sz="1200" b="1" smtClean="0">
                <a:solidFill>
                  <a:srgbClr val="49C7ED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49C7ED"/>
              </a:solidFill>
            </a:endParaRPr>
          </a:p>
        </p:txBody>
      </p:sp>
      <p:pic>
        <p:nvPicPr>
          <p:cNvPr id="9" name="Picture 5" descr="kreska pionow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557338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49C7E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49C7E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3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49C7ED"/>
              </a:buClr>
              <a:buFont typeface="Arial" pitchFamily="34" charset="0"/>
              <a:buChar char="•"/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4246587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0788716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0023632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9494741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1537778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217188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545257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4988648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2271655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379233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9521016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720905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01424900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13362557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6112851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0923626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304279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2460246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674573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68099375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6441380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6953865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1189956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651378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0665134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40100495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970554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533035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79689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914016368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40349719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89203109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30261618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6352844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4563049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0399901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12315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195085130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96035173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508039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5874148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5301249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92534823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32053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93890121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019773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8303038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6892532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489152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533564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9260881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87791731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10640529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8524911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6813508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0830860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67551141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5846692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2602132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5476096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0881269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069802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280068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56458767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99961505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4220258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65765654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9652464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5209346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9934768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75840889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89130317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0183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182197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0011178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23001841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6211293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9212917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38985872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74162542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97127861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44326773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0903355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707460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88353361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6731222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6361807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3421871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8999716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17666348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57718437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81263790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79634928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97000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40219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399859377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94065932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122962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863746026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7444222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73231554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46967330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68148838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524271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087178989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929990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8548962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9077619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4673983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177138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67710960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616674711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78019209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1656763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6751628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64227293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8616663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65928926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6440038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42461190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9407358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7606311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90789716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58415345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91317482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04433037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1266333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24867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82026075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97846584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76728957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14595752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46897229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515133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68201737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812057477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4275851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72302022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936150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133084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3346956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04976768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287805865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49989240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34392206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68485644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5097096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365383402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55663126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23523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638517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901565198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ramka_slajd zielon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513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625" y="5911850"/>
            <a:ext cx="269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CA8776DE-50C3-408D-B189-A0618838900B}" type="slidenum">
              <a:rPr lang="pl-PL" sz="1200" b="1" smtClean="0">
                <a:solidFill>
                  <a:srgbClr val="72BF44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72BF44"/>
              </a:solidFill>
            </a:endParaRPr>
          </a:p>
        </p:txBody>
      </p:sp>
      <p:sp>
        <p:nvSpPr>
          <p:cNvPr id="10" name="Prostokąt 9"/>
          <p:cNvSpPr/>
          <p:nvPr userDrawn="1"/>
        </p:nvSpPr>
        <p:spPr>
          <a:xfrm>
            <a:off x="5219700" y="765175"/>
            <a:ext cx="2376488" cy="719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 dirty="0">
              <a:solidFill>
                <a:schemeClr val="tx1"/>
              </a:solidFill>
            </a:endParaRPr>
          </a:p>
        </p:txBody>
      </p:sp>
      <p:sp>
        <p:nvSpPr>
          <p:cNvPr id="18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692150"/>
            <a:ext cx="7272288" cy="79216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92D05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9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43212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92D05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21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72BF44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340191350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ramka_slajd czerwon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60350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kresk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0022" b="-60022"/>
          <a:stretch>
            <a:fillRect/>
          </a:stretch>
        </p:blipFill>
        <p:spPr bwMode="auto">
          <a:xfrm>
            <a:off x="415925" y="5848350"/>
            <a:ext cx="8248650" cy="6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5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 descr="kresk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0022" b="-60022"/>
          <a:stretch>
            <a:fillRect/>
          </a:stretch>
        </p:blipFill>
        <p:spPr bwMode="auto">
          <a:xfrm>
            <a:off x="395288" y="1538288"/>
            <a:ext cx="8248650" cy="6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E8BC3978-235A-4FFF-8D8C-C9F7A6DF896A}" type="slidenum">
              <a:rPr lang="pl-PL" sz="1200" b="1" smtClean="0">
                <a:solidFill>
                  <a:srgbClr val="ED1C24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ED1C24"/>
              </a:solidFill>
            </a:endParaRPr>
          </a:p>
        </p:txBody>
      </p:sp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ED1C2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ED1C2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3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ED1C24"/>
              </a:buClr>
              <a:buFont typeface="Arial" pitchFamily="34" charset="0"/>
              <a:buChar char="•"/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949855499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62298482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45904858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692909930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57976469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68555950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78844504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1103962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9748505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8577738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41783453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26273149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0669151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074770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288130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54247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9329207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932355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660892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237129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 descr="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075AADEE-B4BD-422A-9E72-D4F5687AD49F}" type="slidenum">
              <a:rPr lang="pl-PL" sz="1200" b="1" smtClean="0">
                <a:solidFill>
                  <a:srgbClr val="11897D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11897D"/>
              </a:solidFill>
              <a:latin typeface="Arial" charset="0"/>
            </a:endParaRPr>
          </a:p>
        </p:txBody>
      </p:sp>
      <p:pic>
        <p:nvPicPr>
          <p:cNvPr id="9" name="Picture 10" descr="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1628775"/>
            <a:ext cx="8277225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1" descr="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5400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2" descr="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77225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 baseline="0">
                <a:solidFill>
                  <a:srgbClr val="00AEE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00AEE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3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00AEEF"/>
              </a:buClr>
              <a:buFont typeface="Arial" pitchFamily="34" charset="0"/>
              <a:buChar char="•"/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38356006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05324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0597438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8002498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0226563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303634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296434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399369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2460702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5791159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664675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8530351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063178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286136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5467461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2780974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4884721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4353728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7006805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680437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3060255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123663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187947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56099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6214443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7384115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1954504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8428872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2951183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2791283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1199645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888994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4503858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3949947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5739525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8377994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9385488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4288810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1338224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14761978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0871448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0792071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6708488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26953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1185294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48455893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499231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26910245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6808278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9866635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8994055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74650356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7025738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5556401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913745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22902399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825852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36131704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7044981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0052435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2384206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4079670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7496119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2128256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1716111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865883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145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theme" Target="../theme/theme18.xml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1.png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19.xml"/><Relationship Id="rId1" Type="http://schemas.openxmlformats.org/officeDocument/2006/relationships/slideLayout" Target="../slideLayouts/slideLayout16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.png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theme" Target="../theme/theme20.xml"/><Relationship Id="rId2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64.xml"/><Relationship Id="rId4" Type="http://schemas.openxmlformats.org/officeDocument/2006/relationships/image" Target="../media/image1.png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1.xml"/><Relationship Id="rId1" Type="http://schemas.openxmlformats.org/officeDocument/2006/relationships/slideLayout" Target="../slideLayouts/slideLayout166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2.xml"/><Relationship Id="rId2" Type="http://schemas.openxmlformats.org/officeDocument/2006/relationships/slideLayout" Target="../slideLayouts/slideLayout168.xml"/><Relationship Id="rId1" Type="http://schemas.openxmlformats.org/officeDocument/2006/relationships/slideLayout" Target="../slideLayouts/slideLayout167.xml"/><Relationship Id="rId4" Type="http://schemas.openxmlformats.org/officeDocument/2006/relationships/image" Target="../media/image1.png"/></Relationships>
</file>

<file path=ppt/slideMasters/_rels/slideMaster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3.xml"/><Relationship Id="rId1" Type="http://schemas.openxmlformats.org/officeDocument/2006/relationships/slideLayout" Target="../slideLayouts/slideLayout169.xml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theme" Target="../theme/theme24.xml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4" Type="http://schemas.openxmlformats.org/officeDocument/2006/relationships/image" Target="../media/image1.png"/></Relationships>
</file>

<file path=ppt/slideMasters/_rels/slideMaster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5.xml"/><Relationship Id="rId1" Type="http://schemas.openxmlformats.org/officeDocument/2006/relationships/slideLayout" Target="../slideLayouts/slideLayout172.xml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theme" Target="../theme/theme26.xml"/><Relationship Id="rId2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73.xml"/><Relationship Id="rId4" Type="http://schemas.openxmlformats.org/officeDocument/2006/relationships/image" Target="../media/image1.png"/></Relationships>
</file>

<file path=ppt/slideMasters/_rels/slideMaster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7.xml"/><Relationship Id="rId1" Type="http://schemas.openxmlformats.org/officeDocument/2006/relationships/slideLayout" Target="../slideLayouts/slideLayout175.xml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8.xml"/><Relationship Id="rId1" Type="http://schemas.openxmlformats.org/officeDocument/2006/relationships/slideLayout" Target="../slideLayouts/slideLayout176.xml"/></Relationships>
</file>

<file path=ppt/slideMasters/_rels/slideMaster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9.xml"/><Relationship Id="rId1" Type="http://schemas.openxmlformats.org/officeDocument/2006/relationships/slideLayout" Target="../slideLayouts/slideLayout17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png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84.xml"/><Relationship Id="rId12" Type="http://schemas.openxmlformats.org/officeDocument/2006/relationships/theme" Target="../theme/theme30.xml"/><Relationship Id="rId2" Type="http://schemas.openxmlformats.org/officeDocument/2006/relationships/slideLayout" Target="../slideLayouts/slideLayout179.xml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82.xml"/><Relationship Id="rId15" Type="http://schemas.openxmlformats.org/officeDocument/2006/relationships/image" Target="../media/image23.png"/><Relationship Id="rId10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Relationship Id="rId14" Type="http://schemas.openxmlformats.org/officeDocument/2006/relationships/image" Target="../media/image22.png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6.xml"/><Relationship Id="rId13" Type="http://schemas.openxmlformats.org/officeDocument/2006/relationships/image" Target="../media/image24.png"/><Relationship Id="rId3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95.xml"/><Relationship Id="rId12" Type="http://schemas.openxmlformats.org/officeDocument/2006/relationships/theme" Target="../theme/theme31.xml"/><Relationship Id="rId2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4.xml"/><Relationship Id="rId11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193.xml"/><Relationship Id="rId15" Type="http://schemas.openxmlformats.org/officeDocument/2006/relationships/image" Target="../media/image26.png"/><Relationship Id="rId10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97.xml"/><Relationship Id="rId14" Type="http://schemas.openxmlformats.org/officeDocument/2006/relationships/image" Target="../media/image25.pn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7.xml"/><Relationship Id="rId13" Type="http://schemas.openxmlformats.org/officeDocument/2006/relationships/image" Target="../media/image27.png"/><Relationship Id="rId3" Type="http://schemas.openxmlformats.org/officeDocument/2006/relationships/slideLayout" Target="../slideLayouts/slideLayout202.xml"/><Relationship Id="rId7" Type="http://schemas.openxmlformats.org/officeDocument/2006/relationships/slideLayout" Target="../slideLayouts/slideLayout206.xml"/><Relationship Id="rId12" Type="http://schemas.openxmlformats.org/officeDocument/2006/relationships/theme" Target="../theme/theme32.xml"/><Relationship Id="rId2" Type="http://schemas.openxmlformats.org/officeDocument/2006/relationships/slideLayout" Target="../slideLayouts/slideLayout201.xml"/><Relationship Id="rId1" Type="http://schemas.openxmlformats.org/officeDocument/2006/relationships/slideLayout" Target="../slideLayouts/slideLayout200.xml"/><Relationship Id="rId6" Type="http://schemas.openxmlformats.org/officeDocument/2006/relationships/slideLayout" Target="../slideLayouts/slideLayout205.xml"/><Relationship Id="rId11" Type="http://schemas.openxmlformats.org/officeDocument/2006/relationships/slideLayout" Target="../slideLayouts/slideLayout210.xml"/><Relationship Id="rId5" Type="http://schemas.openxmlformats.org/officeDocument/2006/relationships/slideLayout" Target="../slideLayouts/slideLayout204.xml"/><Relationship Id="rId15" Type="http://schemas.openxmlformats.org/officeDocument/2006/relationships/image" Target="../media/image29.png"/><Relationship Id="rId10" Type="http://schemas.openxmlformats.org/officeDocument/2006/relationships/slideLayout" Target="../slideLayouts/slideLayout209.xml"/><Relationship Id="rId4" Type="http://schemas.openxmlformats.org/officeDocument/2006/relationships/slideLayout" Target="../slideLayouts/slideLayout203.xml"/><Relationship Id="rId9" Type="http://schemas.openxmlformats.org/officeDocument/2006/relationships/slideLayout" Target="../slideLayouts/slideLayout208.xml"/><Relationship Id="rId14" Type="http://schemas.openxmlformats.org/officeDocument/2006/relationships/image" Target="../media/image28.png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8.xml"/><Relationship Id="rId13" Type="http://schemas.openxmlformats.org/officeDocument/2006/relationships/image" Target="../media/image30.png"/><Relationship Id="rId3" Type="http://schemas.openxmlformats.org/officeDocument/2006/relationships/slideLayout" Target="../slideLayouts/slideLayout213.xml"/><Relationship Id="rId7" Type="http://schemas.openxmlformats.org/officeDocument/2006/relationships/slideLayout" Target="../slideLayouts/slideLayout217.xml"/><Relationship Id="rId12" Type="http://schemas.openxmlformats.org/officeDocument/2006/relationships/theme" Target="../theme/theme33.xml"/><Relationship Id="rId2" Type="http://schemas.openxmlformats.org/officeDocument/2006/relationships/slideLayout" Target="../slideLayouts/slideLayout212.xml"/><Relationship Id="rId1" Type="http://schemas.openxmlformats.org/officeDocument/2006/relationships/slideLayout" Target="../slideLayouts/slideLayout211.xml"/><Relationship Id="rId6" Type="http://schemas.openxmlformats.org/officeDocument/2006/relationships/slideLayout" Target="../slideLayouts/slideLayout216.xml"/><Relationship Id="rId11" Type="http://schemas.openxmlformats.org/officeDocument/2006/relationships/slideLayout" Target="../slideLayouts/slideLayout221.xml"/><Relationship Id="rId5" Type="http://schemas.openxmlformats.org/officeDocument/2006/relationships/slideLayout" Target="../slideLayouts/slideLayout215.xml"/><Relationship Id="rId15" Type="http://schemas.openxmlformats.org/officeDocument/2006/relationships/image" Target="../media/image32.png"/><Relationship Id="rId10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214.xml"/><Relationship Id="rId9" Type="http://schemas.openxmlformats.org/officeDocument/2006/relationships/slideLayout" Target="../slideLayouts/slideLayout219.xml"/><Relationship Id="rId14" Type="http://schemas.openxmlformats.org/officeDocument/2006/relationships/image" Target="../media/image31.png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9.xml"/><Relationship Id="rId13" Type="http://schemas.openxmlformats.org/officeDocument/2006/relationships/image" Target="../media/image33.png"/><Relationship Id="rId3" Type="http://schemas.openxmlformats.org/officeDocument/2006/relationships/slideLayout" Target="../slideLayouts/slideLayout224.xml"/><Relationship Id="rId7" Type="http://schemas.openxmlformats.org/officeDocument/2006/relationships/slideLayout" Target="../slideLayouts/slideLayout228.xml"/><Relationship Id="rId12" Type="http://schemas.openxmlformats.org/officeDocument/2006/relationships/theme" Target="../theme/theme34.xml"/><Relationship Id="rId2" Type="http://schemas.openxmlformats.org/officeDocument/2006/relationships/slideLayout" Target="../slideLayouts/slideLayout223.xml"/><Relationship Id="rId1" Type="http://schemas.openxmlformats.org/officeDocument/2006/relationships/slideLayout" Target="../slideLayouts/slideLayout222.xml"/><Relationship Id="rId6" Type="http://schemas.openxmlformats.org/officeDocument/2006/relationships/slideLayout" Target="../slideLayouts/slideLayout227.xml"/><Relationship Id="rId11" Type="http://schemas.openxmlformats.org/officeDocument/2006/relationships/slideLayout" Target="../slideLayouts/slideLayout232.xml"/><Relationship Id="rId5" Type="http://schemas.openxmlformats.org/officeDocument/2006/relationships/slideLayout" Target="../slideLayouts/slideLayout226.xml"/><Relationship Id="rId15" Type="http://schemas.openxmlformats.org/officeDocument/2006/relationships/image" Target="../media/image35.png"/><Relationship Id="rId10" Type="http://schemas.openxmlformats.org/officeDocument/2006/relationships/slideLayout" Target="../slideLayouts/slideLayout231.xml"/><Relationship Id="rId4" Type="http://schemas.openxmlformats.org/officeDocument/2006/relationships/slideLayout" Target="../slideLayouts/slideLayout225.xml"/><Relationship Id="rId9" Type="http://schemas.openxmlformats.org/officeDocument/2006/relationships/slideLayout" Target="../slideLayouts/slideLayout230.xml"/><Relationship Id="rId14" Type="http://schemas.openxmlformats.org/officeDocument/2006/relationships/image" Target="../media/image34.png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39.xml"/><Relationship Id="rId12" Type="http://schemas.openxmlformats.org/officeDocument/2006/relationships/theme" Target="../theme/theme35.xml"/><Relationship Id="rId2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slideLayout" Target="../slideLayouts/slideLayout243.xml"/><Relationship Id="rId5" Type="http://schemas.openxmlformats.org/officeDocument/2006/relationships/slideLayout" Target="../slideLayouts/slideLayout237.xml"/><Relationship Id="rId15" Type="http://schemas.openxmlformats.org/officeDocument/2006/relationships/image" Target="../media/image23.png"/><Relationship Id="rId10" Type="http://schemas.openxmlformats.org/officeDocument/2006/relationships/slideLayout" Target="../slideLayouts/slideLayout242.xml"/><Relationship Id="rId4" Type="http://schemas.openxmlformats.org/officeDocument/2006/relationships/slideLayout" Target="../slideLayouts/slideLayout236.xml"/><Relationship Id="rId9" Type="http://schemas.openxmlformats.org/officeDocument/2006/relationships/slideLayout" Target="../slideLayouts/slideLayout241.xml"/><Relationship Id="rId14" Type="http://schemas.openxmlformats.org/officeDocument/2006/relationships/image" Target="../media/image22.png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1.xml"/><Relationship Id="rId13" Type="http://schemas.openxmlformats.org/officeDocument/2006/relationships/image" Target="../media/image36.png"/><Relationship Id="rId3" Type="http://schemas.openxmlformats.org/officeDocument/2006/relationships/slideLayout" Target="../slideLayouts/slideLayout246.xml"/><Relationship Id="rId7" Type="http://schemas.openxmlformats.org/officeDocument/2006/relationships/slideLayout" Target="../slideLayouts/slideLayout250.xml"/><Relationship Id="rId12" Type="http://schemas.openxmlformats.org/officeDocument/2006/relationships/theme" Target="../theme/theme36.xml"/><Relationship Id="rId2" Type="http://schemas.openxmlformats.org/officeDocument/2006/relationships/slideLayout" Target="../slideLayouts/slideLayout245.xml"/><Relationship Id="rId1" Type="http://schemas.openxmlformats.org/officeDocument/2006/relationships/slideLayout" Target="../slideLayouts/slideLayout244.xml"/><Relationship Id="rId6" Type="http://schemas.openxmlformats.org/officeDocument/2006/relationships/slideLayout" Target="../slideLayouts/slideLayout249.xml"/><Relationship Id="rId11" Type="http://schemas.openxmlformats.org/officeDocument/2006/relationships/slideLayout" Target="../slideLayouts/slideLayout254.xml"/><Relationship Id="rId5" Type="http://schemas.openxmlformats.org/officeDocument/2006/relationships/slideLayout" Target="../slideLayouts/slideLayout248.xml"/><Relationship Id="rId15" Type="http://schemas.openxmlformats.org/officeDocument/2006/relationships/image" Target="../media/image38.png"/><Relationship Id="rId10" Type="http://schemas.openxmlformats.org/officeDocument/2006/relationships/slideLayout" Target="../slideLayouts/slideLayout253.xml"/><Relationship Id="rId4" Type="http://schemas.openxmlformats.org/officeDocument/2006/relationships/slideLayout" Target="../slideLayouts/slideLayout247.xml"/><Relationship Id="rId9" Type="http://schemas.openxmlformats.org/officeDocument/2006/relationships/slideLayout" Target="../slideLayouts/slideLayout252.xml"/><Relationship Id="rId14" Type="http://schemas.openxmlformats.org/officeDocument/2006/relationships/image" Target="../media/image37.png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2.xml"/><Relationship Id="rId13" Type="http://schemas.openxmlformats.org/officeDocument/2006/relationships/image" Target="../media/image39.png"/><Relationship Id="rId3" Type="http://schemas.openxmlformats.org/officeDocument/2006/relationships/slideLayout" Target="../slideLayouts/slideLayout257.xml"/><Relationship Id="rId7" Type="http://schemas.openxmlformats.org/officeDocument/2006/relationships/slideLayout" Target="../slideLayouts/slideLayout261.xml"/><Relationship Id="rId12" Type="http://schemas.openxmlformats.org/officeDocument/2006/relationships/theme" Target="../theme/theme37.xml"/><Relationship Id="rId2" Type="http://schemas.openxmlformats.org/officeDocument/2006/relationships/slideLayout" Target="../slideLayouts/slideLayout256.xml"/><Relationship Id="rId1" Type="http://schemas.openxmlformats.org/officeDocument/2006/relationships/slideLayout" Target="../slideLayouts/slideLayout255.xml"/><Relationship Id="rId6" Type="http://schemas.openxmlformats.org/officeDocument/2006/relationships/slideLayout" Target="../slideLayouts/slideLayout260.xml"/><Relationship Id="rId11" Type="http://schemas.openxmlformats.org/officeDocument/2006/relationships/slideLayout" Target="../slideLayouts/slideLayout265.xml"/><Relationship Id="rId5" Type="http://schemas.openxmlformats.org/officeDocument/2006/relationships/slideLayout" Target="../slideLayouts/slideLayout259.xml"/><Relationship Id="rId15" Type="http://schemas.openxmlformats.org/officeDocument/2006/relationships/image" Target="../media/image41.png"/><Relationship Id="rId10" Type="http://schemas.openxmlformats.org/officeDocument/2006/relationships/slideLayout" Target="../slideLayouts/slideLayout264.xml"/><Relationship Id="rId4" Type="http://schemas.openxmlformats.org/officeDocument/2006/relationships/slideLayout" Target="../slideLayouts/slideLayout258.xml"/><Relationship Id="rId9" Type="http://schemas.openxmlformats.org/officeDocument/2006/relationships/slideLayout" Target="../slideLayouts/slideLayout263.xml"/><Relationship Id="rId14" Type="http://schemas.openxmlformats.org/officeDocument/2006/relationships/image" Target="../media/image40.png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68.xml"/><Relationship Id="rId7" Type="http://schemas.openxmlformats.org/officeDocument/2006/relationships/slideLayout" Target="../slideLayouts/slideLayout272.xml"/><Relationship Id="rId12" Type="http://schemas.openxmlformats.org/officeDocument/2006/relationships/theme" Target="../theme/theme38.xml"/><Relationship Id="rId2" Type="http://schemas.openxmlformats.org/officeDocument/2006/relationships/slideLayout" Target="../slideLayouts/slideLayout267.xml"/><Relationship Id="rId1" Type="http://schemas.openxmlformats.org/officeDocument/2006/relationships/slideLayout" Target="../slideLayouts/slideLayout266.xml"/><Relationship Id="rId6" Type="http://schemas.openxmlformats.org/officeDocument/2006/relationships/slideLayout" Target="../slideLayouts/slideLayout271.xml"/><Relationship Id="rId11" Type="http://schemas.openxmlformats.org/officeDocument/2006/relationships/slideLayout" Target="../slideLayouts/slideLayout276.xml"/><Relationship Id="rId5" Type="http://schemas.openxmlformats.org/officeDocument/2006/relationships/slideLayout" Target="../slideLayouts/slideLayout270.xml"/><Relationship Id="rId10" Type="http://schemas.openxmlformats.org/officeDocument/2006/relationships/slideLayout" Target="../slideLayouts/slideLayout275.xml"/><Relationship Id="rId4" Type="http://schemas.openxmlformats.org/officeDocument/2006/relationships/slideLayout" Target="../slideLayouts/slideLayout269.xml"/><Relationship Id="rId9" Type="http://schemas.openxmlformats.org/officeDocument/2006/relationships/slideLayout" Target="../slideLayouts/slideLayout274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4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279.xml"/><Relationship Id="rId7" Type="http://schemas.openxmlformats.org/officeDocument/2006/relationships/slideLayout" Target="../slideLayouts/slideLayout283.xml"/><Relationship Id="rId12" Type="http://schemas.openxmlformats.org/officeDocument/2006/relationships/theme" Target="../theme/theme39.xml"/><Relationship Id="rId2" Type="http://schemas.openxmlformats.org/officeDocument/2006/relationships/slideLayout" Target="../slideLayouts/slideLayout278.xml"/><Relationship Id="rId1" Type="http://schemas.openxmlformats.org/officeDocument/2006/relationships/slideLayout" Target="../slideLayouts/slideLayout277.xml"/><Relationship Id="rId6" Type="http://schemas.openxmlformats.org/officeDocument/2006/relationships/slideLayout" Target="../slideLayouts/slideLayout282.xml"/><Relationship Id="rId11" Type="http://schemas.openxmlformats.org/officeDocument/2006/relationships/slideLayout" Target="../slideLayouts/slideLayout287.xml"/><Relationship Id="rId5" Type="http://schemas.openxmlformats.org/officeDocument/2006/relationships/slideLayout" Target="../slideLayouts/slideLayout281.xml"/><Relationship Id="rId10" Type="http://schemas.openxmlformats.org/officeDocument/2006/relationships/slideLayout" Target="../slideLayouts/slideLayout286.xml"/><Relationship Id="rId4" Type="http://schemas.openxmlformats.org/officeDocument/2006/relationships/slideLayout" Target="../slideLayouts/slideLayout280.xml"/><Relationship Id="rId9" Type="http://schemas.openxmlformats.org/officeDocument/2006/relationships/slideLayout" Target="../slideLayouts/slideLayout2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90.xml"/><Relationship Id="rId7" Type="http://schemas.openxmlformats.org/officeDocument/2006/relationships/slideLayout" Target="../slideLayouts/slideLayout294.xml"/><Relationship Id="rId12" Type="http://schemas.openxmlformats.org/officeDocument/2006/relationships/theme" Target="../theme/theme40.xml"/><Relationship Id="rId2" Type="http://schemas.openxmlformats.org/officeDocument/2006/relationships/slideLayout" Target="../slideLayouts/slideLayout289.xml"/><Relationship Id="rId1" Type="http://schemas.openxmlformats.org/officeDocument/2006/relationships/slideLayout" Target="../slideLayouts/slideLayout288.xml"/><Relationship Id="rId6" Type="http://schemas.openxmlformats.org/officeDocument/2006/relationships/slideLayout" Target="../slideLayouts/slideLayout293.xml"/><Relationship Id="rId11" Type="http://schemas.openxmlformats.org/officeDocument/2006/relationships/slideLayout" Target="../slideLayouts/slideLayout298.xml"/><Relationship Id="rId5" Type="http://schemas.openxmlformats.org/officeDocument/2006/relationships/slideLayout" Target="../slideLayouts/slideLayout292.xml"/><Relationship Id="rId10" Type="http://schemas.openxmlformats.org/officeDocument/2006/relationships/slideLayout" Target="../slideLayouts/slideLayout297.xml"/><Relationship Id="rId4" Type="http://schemas.openxmlformats.org/officeDocument/2006/relationships/slideLayout" Target="../slideLayouts/slideLayout291.xml"/><Relationship Id="rId9" Type="http://schemas.openxmlformats.org/officeDocument/2006/relationships/slideLayout" Target="../slideLayouts/slideLayout296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6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301.xml"/><Relationship Id="rId7" Type="http://schemas.openxmlformats.org/officeDocument/2006/relationships/slideLayout" Target="../slideLayouts/slideLayout305.xml"/><Relationship Id="rId12" Type="http://schemas.openxmlformats.org/officeDocument/2006/relationships/theme" Target="../theme/theme41.xml"/><Relationship Id="rId2" Type="http://schemas.openxmlformats.org/officeDocument/2006/relationships/slideLayout" Target="../slideLayouts/slideLayout300.xml"/><Relationship Id="rId1" Type="http://schemas.openxmlformats.org/officeDocument/2006/relationships/slideLayout" Target="../slideLayouts/slideLayout299.xml"/><Relationship Id="rId6" Type="http://schemas.openxmlformats.org/officeDocument/2006/relationships/slideLayout" Target="../slideLayouts/slideLayout304.xml"/><Relationship Id="rId11" Type="http://schemas.openxmlformats.org/officeDocument/2006/relationships/slideLayout" Target="../slideLayouts/slideLayout309.xml"/><Relationship Id="rId5" Type="http://schemas.openxmlformats.org/officeDocument/2006/relationships/slideLayout" Target="../slideLayouts/slideLayout303.xml"/><Relationship Id="rId10" Type="http://schemas.openxmlformats.org/officeDocument/2006/relationships/slideLayout" Target="../slideLayouts/slideLayout308.xml"/><Relationship Id="rId4" Type="http://schemas.openxmlformats.org/officeDocument/2006/relationships/slideLayout" Target="../slideLayouts/slideLayout302.xml"/><Relationship Id="rId9" Type="http://schemas.openxmlformats.org/officeDocument/2006/relationships/slideLayout" Target="../slideLayouts/slideLayout307.xml"/></Relationships>
</file>

<file path=ppt/slideMasters/_rels/slideMaster42.xml.rels><?xml version="1.0" encoding="UTF-8" standalone="yes"?>
<Relationships xmlns="http://schemas.openxmlformats.org/package/2006/relationships"><Relationship Id="rId2" Type="http://schemas.openxmlformats.org/officeDocument/2006/relationships/theme" Target="../theme/theme42.xml"/><Relationship Id="rId1" Type="http://schemas.openxmlformats.org/officeDocument/2006/relationships/slideLayout" Target="../slideLayouts/slideLayout310.xml"/></Relationships>
</file>

<file path=ppt/slideMasters/_rels/slideMaster43.xml.rels><?xml version="1.0" encoding="UTF-8" standalone="yes"?>
<Relationships xmlns="http://schemas.openxmlformats.org/package/2006/relationships"><Relationship Id="rId2" Type="http://schemas.openxmlformats.org/officeDocument/2006/relationships/theme" Target="../theme/theme43.xml"/><Relationship Id="rId1" Type="http://schemas.openxmlformats.org/officeDocument/2006/relationships/slideLayout" Target="../slideLayouts/slideLayout311.xml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9.xml"/><Relationship Id="rId3" Type="http://schemas.openxmlformats.org/officeDocument/2006/relationships/slideLayout" Target="../slideLayouts/slideLayout314.xml"/><Relationship Id="rId7" Type="http://schemas.openxmlformats.org/officeDocument/2006/relationships/slideLayout" Target="../slideLayouts/slideLayout318.xml"/><Relationship Id="rId12" Type="http://schemas.openxmlformats.org/officeDocument/2006/relationships/theme" Target="../theme/theme44.xml"/><Relationship Id="rId2" Type="http://schemas.openxmlformats.org/officeDocument/2006/relationships/slideLayout" Target="../slideLayouts/slideLayout313.xml"/><Relationship Id="rId1" Type="http://schemas.openxmlformats.org/officeDocument/2006/relationships/slideLayout" Target="../slideLayouts/slideLayout312.xml"/><Relationship Id="rId6" Type="http://schemas.openxmlformats.org/officeDocument/2006/relationships/slideLayout" Target="../slideLayouts/slideLayout317.xml"/><Relationship Id="rId11" Type="http://schemas.openxmlformats.org/officeDocument/2006/relationships/slideLayout" Target="../slideLayouts/slideLayout322.xml"/><Relationship Id="rId5" Type="http://schemas.openxmlformats.org/officeDocument/2006/relationships/slideLayout" Target="../slideLayouts/slideLayout316.xml"/><Relationship Id="rId10" Type="http://schemas.openxmlformats.org/officeDocument/2006/relationships/slideLayout" Target="../slideLayouts/slideLayout321.xml"/><Relationship Id="rId4" Type="http://schemas.openxmlformats.org/officeDocument/2006/relationships/slideLayout" Target="../slideLayouts/slideLayout315.xml"/><Relationship Id="rId9" Type="http://schemas.openxmlformats.org/officeDocument/2006/relationships/slideLayout" Target="../slideLayouts/slideLayout32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381" r:id="rId1"/>
    <p:sldLayoutId id="2147488382" r:id="rId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A39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0243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52" r:id="rId1"/>
    <p:sldLayoutId id="2147488453" r:id="rId2"/>
    <p:sldLayoutId id="2147488454" r:id="rId3"/>
    <p:sldLayoutId id="2147488455" r:id="rId4"/>
    <p:sldLayoutId id="2147488456" r:id="rId5"/>
    <p:sldLayoutId id="2147488457" r:id="rId6"/>
    <p:sldLayoutId id="2147488458" r:id="rId7"/>
    <p:sldLayoutId id="2147488459" r:id="rId8"/>
    <p:sldLayoutId id="2147488460" r:id="rId9"/>
    <p:sldLayoutId id="2147488461" r:id="rId10"/>
    <p:sldLayoutId id="214748846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A39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1267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63" r:id="rId1"/>
    <p:sldLayoutId id="2147488464" r:id="rId2"/>
    <p:sldLayoutId id="2147488465" r:id="rId3"/>
    <p:sldLayoutId id="2147488466" r:id="rId4"/>
    <p:sldLayoutId id="2147488467" r:id="rId5"/>
    <p:sldLayoutId id="2147488468" r:id="rId6"/>
    <p:sldLayoutId id="2147488469" r:id="rId7"/>
    <p:sldLayoutId id="2147488470" r:id="rId8"/>
    <p:sldLayoutId id="2147488471" r:id="rId9"/>
    <p:sldLayoutId id="2147488472" r:id="rId10"/>
    <p:sldLayoutId id="214748847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A1C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2291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74" r:id="rId1"/>
    <p:sldLayoutId id="2147488475" r:id="rId2"/>
    <p:sldLayoutId id="2147488476" r:id="rId3"/>
    <p:sldLayoutId id="2147488477" r:id="rId4"/>
    <p:sldLayoutId id="2147488478" r:id="rId5"/>
    <p:sldLayoutId id="2147488479" r:id="rId6"/>
    <p:sldLayoutId id="2147488480" r:id="rId7"/>
    <p:sldLayoutId id="2147488481" r:id="rId8"/>
    <p:sldLayoutId id="2147488482" r:id="rId9"/>
    <p:sldLayoutId id="2147488483" r:id="rId10"/>
    <p:sldLayoutId id="2147488484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A1C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3315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85" r:id="rId1"/>
    <p:sldLayoutId id="2147488486" r:id="rId2"/>
    <p:sldLayoutId id="2147488487" r:id="rId3"/>
    <p:sldLayoutId id="2147488488" r:id="rId4"/>
    <p:sldLayoutId id="2147488489" r:id="rId5"/>
    <p:sldLayoutId id="2147488490" r:id="rId6"/>
    <p:sldLayoutId id="2147488491" r:id="rId7"/>
    <p:sldLayoutId id="2147488492" r:id="rId8"/>
    <p:sldLayoutId id="2147488493" r:id="rId9"/>
    <p:sldLayoutId id="2147488494" r:id="rId10"/>
    <p:sldLayoutId id="2147488495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819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4339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96" r:id="rId1"/>
    <p:sldLayoutId id="2147488497" r:id="rId2"/>
    <p:sldLayoutId id="2147488498" r:id="rId3"/>
    <p:sldLayoutId id="2147488499" r:id="rId4"/>
    <p:sldLayoutId id="2147488500" r:id="rId5"/>
    <p:sldLayoutId id="2147488501" r:id="rId6"/>
    <p:sldLayoutId id="2147488502" r:id="rId7"/>
    <p:sldLayoutId id="2147488503" r:id="rId8"/>
    <p:sldLayoutId id="2147488504" r:id="rId9"/>
    <p:sldLayoutId id="2147488505" r:id="rId10"/>
    <p:sldLayoutId id="214748850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819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5363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07" r:id="rId1"/>
    <p:sldLayoutId id="2147488508" r:id="rId2"/>
    <p:sldLayoutId id="2147488509" r:id="rId3"/>
    <p:sldLayoutId id="2147488510" r:id="rId4"/>
    <p:sldLayoutId id="2147488511" r:id="rId5"/>
    <p:sldLayoutId id="2147488512" r:id="rId6"/>
    <p:sldLayoutId id="2147488513" r:id="rId7"/>
    <p:sldLayoutId id="2147488514" r:id="rId8"/>
    <p:sldLayoutId id="2147488515" r:id="rId9"/>
    <p:sldLayoutId id="2147488516" r:id="rId10"/>
    <p:sldLayoutId id="214748851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A1CD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6387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18" r:id="rId1"/>
    <p:sldLayoutId id="2147488519" r:id="rId2"/>
    <p:sldLayoutId id="2147488520" r:id="rId3"/>
    <p:sldLayoutId id="2147488521" r:id="rId4"/>
    <p:sldLayoutId id="2147488522" r:id="rId5"/>
    <p:sldLayoutId id="2147488523" r:id="rId6"/>
    <p:sldLayoutId id="2147488524" r:id="rId7"/>
    <p:sldLayoutId id="2147488525" r:id="rId8"/>
    <p:sldLayoutId id="2147488526" r:id="rId9"/>
    <p:sldLayoutId id="2147488527" r:id="rId10"/>
    <p:sldLayoutId id="2147488528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A1CD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7411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29" r:id="rId1"/>
    <p:sldLayoutId id="2147488530" r:id="rId2"/>
    <p:sldLayoutId id="2147488531" r:id="rId3"/>
    <p:sldLayoutId id="2147488532" r:id="rId4"/>
    <p:sldLayoutId id="2147488533" r:id="rId5"/>
    <p:sldLayoutId id="2147488534" r:id="rId6"/>
    <p:sldLayoutId id="2147488535" r:id="rId7"/>
    <p:sldLayoutId id="2147488536" r:id="rId8"/>
    <p:sldLayoutId id="2147488537" r:id="rId9"/>
    <p:sldLayoutId id="2147488538" r:id="rId10"/>
    <p:sldLayoutId id="214748853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5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0" r:id="rId1"/>
    <p:sldLayoutId id="2147488696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9459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1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AE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051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83" r:id="rId1"/>
    <p:sldLayoutId id="2147488695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CB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3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2" r:id="rId1"/>
    <p:sldLayoutId id="2147488697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CB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1507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3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55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1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4" r:id="rId1"/>
    <p:sldLayoutId id="2147488698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55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3555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5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24C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79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6" r:id="rId1"/>
    <p:sldLayoutId id="2147488699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24C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5603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7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9C7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27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8" r:id="rId1"/>
    <p:sldLayoutId id="2147488700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9C7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7651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9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8675" name="Picture 5" descr="ramka_slajd z piktogramami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50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9699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51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AE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075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84" r:id="rId1"/>
    <p:sldLayoutId id="2147488385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11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3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DB3DEBA6-C5E2-4420-9D9C-7756A5753017}" type="slidenum">
              <a:rPr lang="pl-PL" sz="1200" b="1" smtClean="0">
                <a:solidFill>
                  <a:srgbClr val="00AEEF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0AEEF"/>
              </a:solidFill>
            </a:endParaRPr>
          </a:p>
        </p:txBody>
      </p:sp>
      <p:sp>
        <p:nvSpPr>
          <p:cNvPr id="3072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0725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6" name="Picture 10" descr="2"/>
          <p:cNvPicPr>
            <a:picLocks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788" y="5911850"/>
            <a:ext cx="25400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7" name="Picture 12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52" r:id="rId1"/>
    <p:sldLayoutId id="2147488553" r:id="rId2"/>
    <p:sldLayoutId id="2147488554" r:id="rId3"/>
    <p:sldLayoutId id="2147488555" r:id="rId4"/>
    <p:sldLayoutId id="2147488556" r:id="rId5"/>
    <p:sldLayoutId id="2147488557" r:id="rId6"/>
    <p:sldLayoutId id="2147488558" r:id="rId7"/>
    <p:sldLayoutId id="2147488559" r:id="rId8"/>
    <p:sldLayoutId id="2147488560" r:id="rId9"/>
    <p:sldLayoutId id="2147488561" r:id="rId10"/>
    <p:sldLayoutId id="214748856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F1A600DD-18BB-4F35-884F-01B5549BC4C3}" type="slidenum">
              <a:rPr lang="pl-PL" sz="1200" b="1" smtClean="0">
                <a:solidFill>
                  <a:srgbClr val="1B75BC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1B75BC"/>
              </a:solidFill>
              <a:latin typeface="Arial" charset="0"/>
            </a:endParaRPr>
          </a:p>
        </p:txBody>
      </p:sp>
      <p:sp>
        <p:nvSpPr>
          <p:cNvPr id="3174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1749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0" name="Picture 10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1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63" r:id="rId1"/>
    <p:sldLayoutId id="2147488564" r:id="rId2"/>
    <p:sldLayoutId id="2147488565" r:id="rId3"/>
    <p:sldLayoutId id="2147488566" r:id="rId4"/>
    <p:sldLayoutId id="2147488567" r:id="rId5"/>
    <p:sldLayoutId id="2147488568" r:id="rId6"/>
    <p:sldLayoutId id="2147488569" r:id="rId7"/>
    <p:sldLayoutId id="2147488570" r:id="rId8"/>
    <p:sldLayoutId id="2147488571" r:id="rId9"/>
    <p:sldLayoutId id="2147488572" r:id="rId10"/>
    <p:sldLayoutId id="214748857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15900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1110A2AA-1970-4455-B7E9-9E503FDB2112}" type="slidenum">
              <a:rPr lang="pl-PL" sz="1200" b="1" smtClean="0">
                <a:solidFill>
                  <a:srgbClr val="DA1C5C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DA1C5C"/>
              </a:solidFill>
              <a:latin typeface="Arial" charset="0"/>
            </a:endParaRPr>
          </a:p>
        </p:txBody>
      </p:sp>
      <p:sp>
        <p:nvSpPr>
          <p:cNvPr id="3277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2773" name="Picture 9" descr="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74" name="Picture 10" descr="6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75" name="Picture 11" descr="6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74" r:id="rId1"/>
    <p:sldLayoutId id="2147488575" r:id="rId2"/>
    <p:sldLayoutId id="2147488576" r:id="rId3"/>
    <p:sldLayoutId id="2147488577" r:id="rId4"/>
    <p:sldLayoutId id="2147488578" r:id="rId5"/>
    <p:sldLayoutId id="2147488579" r:id="rId6"/>
    <p:sldLayoutId id="2147488580" r:id="rId7"/>
    <p:sldLayoutId id="2147488581" r:id="rId8"/>
    <p:sldLayoutId id="2147488582" r:id="rId9"/>
    <p:sldLayoutId id="2147488583" r:id="rId10"/>
    <p:sldLayoutId id="2147488584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DDDC47BE-B189-4ADE-9357-88DA3DECA37E}" type="slidenum">
              <a:rPr lang="pl-PL" sz="1200" b="1" smtClean="0">
                <a:solidFill>
                  <a:srgbClr val="00689E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0689E"/>
              </a:solidFill>
              <a:latin typeface="Arial" charset="0"/>
            </a:endParaRPr>
          </a:p>
        </p:txBody>
      </p:sp>
      <p:sp>
        <p:nvSpPr>
          <p:cNvPr id="3379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3797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8" name="Picture 10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9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85" r:id="rId1"/>
    <p:sldLayoutId id="2147488586" r:id="rId2"/>
    <p:sldLayoutId id="2147488587" r:id="rId3"/>
    <p:sldLayoutId id="2147488588" r:id="rId4"/>
    <p:sldLayoutId id="2147488589" r:id="rId5"/>
    <p:sldLayoutId id="2147488590" r:id="rId6"/>
    <p:sldLayoutId id="2147488591" r:id="rId7"/>
    <p:sldLayoutId id="2147488592" r:id="rId8"/>
    <p:sldLayoutId id="2147488593" r:id="rId9"/>
    <p:sldLayoutId id="2147488594" r:id="rId10"/>
    <p:sldLayoutId id="2147488595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8" name="Picture 10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136EEF6B-7CFE-4E83-9E45-E5B890BF87DD}" type="slidenum">
              <a:rPr lang="pl-PL" sz="1200" b="1" smtClean="0">
                <a:solidFill>
                  <a:srgbClr val="155193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155193"/>
              </a:solidFill>
              <a:latin typeface="Arial" charset="0"/>
            </a:endParaRPr>
          </a:p>
        </p:txBody>
      </p:sp>
      <p:sp>
        <p:nvSpPr>
          <p:cNvPr id="3482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4821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2" name="Picture 12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3" name="Picture 13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96" r:id="rId1"/>
    <p:sldLayoutId id="2147488597" r:id="rId2"/>
    <p:sldLayoutId id="2147488598" r:id="rId3"/>
    <p:sldLayoutId id="2147488599" r:id="rId4"/>
    <p:sldLayoutId id="2147488600" r:id="rId5"/>
    <p:sldLayoutId id="2147488601" r:id="rId6"/>
    <p:sldLayoutId id="2147488602" r:id="rId7"/>
    <p:sldLayoutId id="2147488603" r:id="rId8"/>
    <p:sldLayoutId id="2147488604" r:id="rId9"/>
    <p:sldLayoutId id="2147488605" r:id="rId10"/>
    <p:sldLayoutId id="214748860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Picture 9" descr="C:\Users\Monika\Desktop\dane\Pisma i wizytówki\Prezentacje\Biuro Zamówień Publicznych\4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3" name="Picture 10" descr="C:\Users\Monika\Desktop\dane\Pisma i wizytówki\Prezentacje\Biuro Zamówień Publicznych\6.png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513" y="1536700"/>
            <a:ext cx="8247062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4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C6588D3F-E1AD-413C-B87D-3CCCE5AFD13F}" type="slidenum">
              <a:rPr lang="pl-PL" sz="1200" b="1" smtClean="0">
                <a:solidFill>
                  <a:srgbClr val="00AEEF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0AEEF"/>
              </a:solidFill>
            </a:endParaRPr>
          </a:p>
        </p:txBody>
      </p:sp>
      <p:pic>
        <p:nvPicPr>
          <p:cNvPr id="35845" name="Picture 8" descr="C:\Users\Monika\Desktop\dane\Pisma i wizytówki\Prezentacje\Biuro Zamówień Publicznych\2.png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0015" r="-50015"/>
          <a:stretch>
            <a:fillRect/>
          </a:stretch>
        </p:blipFill>
        <p:spPr bwMode="auto">
          <a:xfrm>
            <a:off x="1011238" y="5911850"/>
            <a:ext cx="60325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6" name="Picture 10" descr="C:\Users\Monika\Desktop\dane\Pisma i wizytówki\Prezentacje\Biuro Zamówień Publicznych\6.png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0015" b="-50015"/>
          <a:stretch>
            <a:fillRect/>
          </a:stretch>
        </p:blipFill>
        <p:spPr bwMode="auto">
          <a:xfrm>
            <a:off x="417513" y="5846763"/>
            <a:ext cx="8247062" cy="60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7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607" r:id="rId1"/>
    <p:sldLayoutId id="2147488608" r:id="rId2"/>
    <p:sldLayoutId id="2147488609" r:id="rId3"/>
    <p:sldLayoutId id="2147488610" r:id="rId4"/>
    <p:sldLayoutId id="2147488611" r:id="rId5"/>
    <p:sldLayoutId id="2147488612" r:id="rId6"/>
    <p:sldLayoutId id="2147488613" r:id="rId7"/>
    <p:sldLayoutId id="2147488614" r:id="rId8"/>
    <p:sldLayoutId id="2147488615" r:id="rId9"/>
    <p:sldLayoutId id="2147488616" r:id="rId10"/>
    <p:sldLayoutId id="214748861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6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74AF63DD-D131-4CF3-8FF1-1F2512225EB4}" type="slidenum">
              <a:rPr lang="pl-PL" sz="1200" b="1" smtClean="0">
                <a:solidFill>
                  <a:srgbClr val="0F0102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F0102"/>
              </a:solidFill>
              <a:latin typeface="Arial" charset="0"/>
            </a:endParaRPr>
          </a:p>
        </p:txBody>
      </p:sp>
      <p:sp>
        <p:nvSpPr>
          <p:cNvPr id="3686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6869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70" name="Picture 10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71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76925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18" r:id="rId1"/>
    <p:sldLayoutId id="2147488619" r:id="rId2"/>
    <p:sldLayoutId id="2147488620" r:id="rId3"/>
    <p:sldLayoutId id="2147488621" r:id="rId4"/>
    <p:sldLayoutId id="2147488622" r:id="rId5"/>
    <p:sldLayoutId id="2147488623" r:id="rId6"/>
    <p:sldLayoutId id="2147488624" r:id="rId7"/>
    <p:sldLayoutId id="2147488625" r:id="rId8"/>
    <p:sldLayoutId id="2147488626" r:id="rId9"/>
    <p:sldLayoutId id="2147488627" r:id="rId10"/>
    <p:sldLayoutId id="2147488628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10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486D18A3-1316-4A99-8E7C-AE6A48BBEAF5}" type="slidenum">
              <a:rPr lang="pl-PL" sz="1200" b="1" smtClean="0">
                <a:solidFill>
                  <a:srgbClr val="4D4D4D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4D4D4D"/>
              </a:solidFill>
              <a:latin typeface="Arial" charset="0"/>
            </a:endParaRPr>
          </a:p>
        </p:txBody>
      </p:sp>
      <p:sp>
        <p:nvSpPr>
          <p:cNvPr id="3789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7893" name="Picture 8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4" name="Picture 9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5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29" r:id="rId1"/>
    <p:sldLayoutId id="2147488630" r:id="rId2"/>
    <p:sldLayoutId id="2147488631" r:id="rId3"/>
    <p:sldLayoutId id="2147488632" r:id="rId4"/>
    <p:sldLayoutId id="2147488633" r:id="rId5"/>
    <p:sldLayoutId id="2147488634" r:id="rId6"/>
    <p:sldLayoutId id="2147488635" r:id="rId7"/>
    <p:sldLayoutId id="2147488636" r:id="rId8"/>
    <p:sldLayoutId id="2147488637" r:id="rId9"/>
    <p:sldLayoutId id="2147488638" r:id="rId10"/>
    <p:sldLayoutId id="214748863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5" descr="ramka_slajd z piktogramami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915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8916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40" r:id="rId1"/>
    <p:sldLayoutId id="2147488641" r:id="rId2"/>
    <p:sldLayoutId id="2147488642" r:id="rId3"/>
    <p:sldLayoutId id="2147488643" r:id="rId4"/>
    <p:sldLayoutId id="2147488644" r:id="rId5"/>
    <p:sldLayoutId id="2147488645" r:id="rId6"/>
    <p:sldLayoutId id="2147488646" r:id="rId7"/>
    <p:sldLayoutId id="2147488647" r:id="rId8"/>
    <p:sldLayoutId id="2147488648" r:id="rId9"/>
    <p:sldLayoutId id="2147488649" r:id="rId10"/>
    <p:sldLayoutId id="2147488650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9939" name="Picture 2" descr="C:\Users\Monika\Desktop\dane\Pisma i wizytówki\Prezentacje\Biuro Audytu Wewnętrznego\4białe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40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51" r:id="rId1"/>
    <p:sldLayoutId id="2147488652" r:id="rId2"/>
    <p:sldLayoutId id="2147488653" r:id="rId3"/>
    <p:sldLayoutId id="2147488654" r:id="rId4"/>
    <p:sldLayoutId id="2147488655" r:id="rId5"/>
    <p:sldLayoutId id="2147488656" r:id="rId6"/>
    <p:sldLayoutId id="2147488657" r:id="rId7"/>
    <p:sldLayoutId id="2147488658" r:id="rId8"/>
    <p:sldLayoutId id="2147488659" r:id="rId9"/>
    <p:sldLayoutId id="2147488660" r:id="rId10"/>
    <p:sldLayoutId id="214748866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189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4099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86" r:id="rId1"/>
    <p:sldLayoutId id="2147488387" r:id="rId2"/>
    <p:sldLayoutId id="2147488388" r:id="rId3"/>
    <p:sldLayoutId id="2147488389" r:id="rId4"/>
    <p:sldLayoutId id="2147488390" r:id="rId5"/>
    <p:sldLayoutId id="2147488391" r:id="rId6"/>
    <p:sldLayoutId id="2147488392" r:id="rId7"/>
    <p:sldLayoutId id="2147488393" r:id="rId8"/>
    <p:sldLayoutId id="2147488394" r:id="rId9"/>
    <p:sldLayoutId id="2147488395" r:id="rId10"/>
    <p:sldLayoutId id="214748839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2" name="Picture 5" descr="ramka_slajd z piktogramami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63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40964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62" r:id="rId1"/>
    <p:sldLayoutId id="2147488663" r:id="rId2"/>
    <p:sldLayoutId id="2147488664" r:id="rId3"/>
    <p:sldLayoutId id="2147488665" r:id="rId4"/>
    <p:sldLayoutId id="2147488666" r:id="rId5"/>
    <p:sldLayoutId id="2147488667" r:id="rId6"/>
    <p:sldLayoutId id="2147488668" r:id="rId7"/>
    <p:sldLayoutId id="2147488669" r:id="rId8"/>
    <p:sldLayoutId id="2147488670" r:id="rId9"/>
    <p:sldLayoutId id="2147488671" r:id="rId10"/>
    <p:sldLayoutId id="214748867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41987" name="Picture 2" descr="C:\Users\Monika\Desktop\dane\Pisma i wizytówki\Prezentacje\Biuro Audytu Wewnętrznego\4białe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88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73" r:id="rId1"/>
    <p:sldLayoutId id="2147488674" r:id="rId2"/>
    <p:sldLayoutId id="2147488675" r:id="rId3"/>
    <p:sldLayoutId id="2147488676" r:id="rId4"/>
    <p:sldLayoutId id="2147488677" r:id="rId5"/>
    <p:sldLayoutId id="2147488678" r:id="rId6"/>
    <p:sldLayoutId id="2147488679" r:id="rId7"/>
    <p:sldLayoutId id="2147488680" r:id="rId8"/>
    <p:sldLayoutId id="2147488681" r:id="rId9"/>
    <p:sldLayoutId id="2147488682" r:id="rId10"/>
    <p:sldLayoutId id="214748868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701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702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5556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704" r:id="rId1"/>
    <p:sldLayoutId id="2147488705" r:id="rId2"/>
    <p:sldLayoutId id="2147488706" r:id="rId3"/>
    <p:sldLayoutId id="2147488707" r:id="rId4"/>
    <p:sldLayoutId id="2147488708" r:id="rId5"/>
    <p:sldLayoutId id="2147488709" r:id="rId6"/>
    <p:sldLayoutId id="2147488710" r:id="rId7"/>
    <p:sldLayoutId id="2147488711" r:id="rId8"/>
    <p:sldLayoutId id="2147488712" r:id="rId9"/>
    <p:sldLayoutId id="2147488713" r:id="rId10"/>
    <p:sldLayoutId id="2147488714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189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5123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97" r:id="rId1"/>
    <p:sldLayoutId id="2147488398" r:id="rId2"/>
    <p:sldLayoutId id="2147488399" r:id="rId3"/>
    <p:sldLayoutId id="2147488400" r:id="rId4"/>
    <p:sldLayoutId id="2147488401" r:id="rId5"/>
    <p:sldLayoutId id="2147488402" r:id="rId6"/>
    <p:sldLayoutId id="2147488403" r:id="rId7"/>
    <p:sldLayoutId id="2147488404" r:id="rId8"/>
    <p:sldLayoutId id="2147488405" r:id="rId9"/>
    <p:sldLayoutId id="2147488406" r:id="rId10"/>
    <p:sldLayoutId id="214748840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4E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6147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08" r:id="rId1"/>
    <p:sldLayoutId id="2147488409" r:id="rId2"/>
    <p:sldLayoutId id="2147488410" r:id="rId3"/>
    <p:sldLayoutId id="2147488411" r:id="rId4"/>
    <p:sldLayoutId id="2147488412" r:id="rId5"/>
    <p:sldLayoutId id="2147488413" r:id="rId6"/>
    <p:sldLayoutId id="2147488414" r:id="rId7"/>
    <p:sldLayoutId id="2147488415" r:id="rId8"/>
    <p:sldLayoutId id="2147488416" r:id="rId9"/>
    <p:sldLayoutId id="2147488417" r:id="rId10"/>
    <p:sldLayoutId id="2147488418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4E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7171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19" r:id="rId1"/>
    <p:sldLayoutId id="2147488420" r:id="rId2"/>
    <p:sldLayoutId id="2147488421" r:id="rId3"/>
    <p:sldLayoutId id="2147488422" r:id="rId4"/>
    <p:sldLayoutId id="2147488423" r:id="rId5"/>
    <p:sldLayoutId id="2147488424" r:id="rId6"/>
    <p:sldLayoutId id="2147488425" r:id="rId7"/>
    <p:sldLayoutId id="2147488426" r:id="rId8"/>
    <p:sldLayoutId id="2147488427" r:id="rId9"/>
    <p:sldLayoutId id="2147488428" r:id="rId10"/>
    <p:sldLayoutId id="214748842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75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8195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30" r:id="rId1"/>
    <p:sldLayoutId id="2147488431" r:id="rId2"/>
    <p:sldLayoutId id="2147488432" r:id="rId3"/>
    <p:sldLayoutId id="2147488433" r:id="rId4"/>
    <p:sldLayoutId id="2147488434" r:id="rId5"/>
    <p:sldLayoutId id="2147488435" r:id="rId6"/>
    <p:sldLayoutId id="2147488436" r:id="rId7"/>
    <p:sldLayoutId id="2147488437" r:id="rId8"/>
    <p:sldLayoutId id="2147488438" r:id="rId9"/>
    <p:sldLayoutId id="2147488439" r:id="rId10"/>
    <p:sldLayoutId id="2147488440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75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9219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41" r:id="rId1"/>
    <p:sldLayoutId id="2147488442" r:id="rId2"/>
    <p:sldLayoutId id="2147488443" r:id="rId3"/>
    <p:sldLayoutId id="2147488444" r:id="rId4"/>
    <p:sldLayoutId id="2147488445" r:id="rId5"/>
    <p:sldLayoutId id="2147488446" r:id="rId6"/>
    <p:sldLayoutId id="2147488447" r:id="rId7"/>
    <p:sldLayoutId id="2147488448" r:id="rId8"/>
    <p:sldLayoutId id="2147488449" r:id="rId9"/>
    <p:sldLayoutId id="2147488450" r:id="rId10"/>
    <p:sldLayoutId id="214748845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slideLayout" Target="../slideLayouts/slideLayout101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3.xml"/><Relationship Id="rId1" Type="http://schemas.openxmlformats.org/officeDocument/2006/relationships/tags" Target="../tags/tag10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slideLayout" Target="../slideLayouts/slideLayout101.xml"/><Relationship Id="rId1" Type="http://schemas.openxmlformats.org/officeDocument/2006/relationships/tags" Target="../tags/tag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3.xml"/><Relationship Id="rId1" Type="http://schemas.openxmlformats.org/officeDocument/2006/relationships/tags" Target="../tags/tag2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3.xml"/><Relationship Id="rId1" Type="http://schemas.openxmlformats.org/officeDocument/2006/relationships/tags" Target="../tags/tag3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313.xml"/><Relationship Id="rId1" Type="http://schemas.openxmlformats.org/officeDocument/2006/relationships/tags" Target="../tags/tag4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56.png"/><Relationship Id="rId2" Type="http://schemas.openxmlformats.org/officeDocument/2006/relationships/slideLayout" Target="../slideLayouts/slideLayout313.xml"/><Relationship Id="rId1" Type="http://schemas.openxmlformats.org/officeDocument/2006/relationships/tags" Target="../tags/tag5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3.xml"/><Relationship Id="rId1" Type="http://schemas.openxmlformats.org/officeDocument/2006/relationships/tags" Target="../tags/tag6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3.xml"/><Relationship Id="rId1" Type="http://schemas.openxmlformats.org/officeDocument/2006/relationships/tags" Target="../tags/tag7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3.xml"/><Relationship Id="rId1" Type="http://schemas.openxmlformats.org/officeDocument/2006/relationships/tags" Target="../tags/tag8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3.xml"/><Relationship Id="rId1" Type="http://schemas.openxmlformats.org/officeDocument/2006/relationships/tags" Target="../tags/tag9.xml"/><Relationship Id="rId6" Type="http://schemas.openxmlformats.org/officeDocument/2006/relationships/image" Target="../media/image57.png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088" y="332656"/>
            <a:ext cx="8177212" cy="592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lnSpc>
                <a:spcPct val="110000"/>
              </a:lnSpc>
            </a:pPr>
            <a:endParaRPr lang="pl-PL" altLang="pl-PL" sz="3200" dirty="0">
              <a:solidFill>
                <a:schemeClr val="bg1"/>
              </a:solidFill>
              <a:latin typeface="Gabriola" pitchFamily="82" charset="0"/>
              <a:cs typeface="Segoe UI" pitchFamily="34" charset="0"/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389134" y="2118921"/>
            <a:ext cx="8208912" cy="3200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pl-PL" sz="3600" b="1" dirty="0" smtClean="0">
                <a:solidFill>
                  <a:schemeClr val="bg1"/>
                </a:solidFill>
              </a:rPr>
              <a:t>Kamień milowy 2018</a:t>
            </a:r>
          </a:p>
          <a:p>
            <a:pPr algn="ctr">
              <a:spcAft>
                <a:spcPts val="1200"/>
              </a:spcAft>
            </a:pPr>
            <a:r>
              <a:rPr lang="pl-PL" sz="3600" b="1" dirty="0" smtClean="0">
                <a:solidFill>
                  <a:schemeClr val="bg1"/>
                </a:solidFill>
              </a:rPr>
              <a:t>Obniżki</a:t>
            </a:r>
          </a:p>
          <a:p>
            <a:pPr algn="ctr">
              <a:spcAft>
                <a:spcPts val="1200"/>
              </a:spcAft>
            </a:pPr>
            <a:endParaRPr lang="pl-PL" sz="3600" b="1" dirty="0">
              <a:solidFill>
                <a:schemeClr val="bg1"/>
              </a:solidFill>
            </a:endParaRPr>
          </a:p>
          <a:p>
            <a:pPr algn="ctr">
              <a:spcAft>
                <a:spcPts val="1200"/>
              </a:spcAft>
            </a:pPr>
            <a:endParaRPr lang="pl-PL" sz="3600" b="1" dirty="0">
              <a:solidFill>
                <a:schemeClr val="bg1"/>
              </a:solidFill>
            </a:endParaRPr>
          </a:p>
          <a:p>
            <a:pPr algn="ctr">
              <a:spcAft>
                <a:spcPts val="1200"/>
              </a:spcAft>
            </a:pPr>
            <a:r>
              <a:rPr lang="pl-PL" dirty="0" smtClean="0">
                <a:solidFill>
                  <a:schemeClr val="bg1"/>
                </a:solidFill>
              </a:rPr>
              <a:t>Uniejów, 28-29 marca 2019 roku</a:t>
            </a:r>
            <a:endParaRPr lang="pl-PL" dirty="0">
              <a:solidFill>
                <a:schemeClr val="bg1"/>
              </a:solidFill>
            </a:endParaRPr>
          </a:p>
        </p:txBody>
      </p:sp>
      <p:pic>
        <p:nvPicPr>
          <p:cNvPr id="6" name="Obraz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71663"/>
            <a:ext cx="9144000" cy="1293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713711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az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OBNIŻKI – DALSZE POSTĘPOWANIE</a:t>
            </a:r>
          </a:p>
        </p:txBody>
      </p:sp>
      <p:sp>
        <p:nvSpPr>
          <p:cNvPr id="2" name="pole tekstowe 1"/>
          <p:cNvSpPr txBox="1"/>
          <p:nvPr/>
        </p:nvSpPr>
        <p:spPr>
          <a:xfrm>
            <a:off x="324904" y="843677"/>
            <a:ext cx="8567576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dirty="0" err="1" smtClean="0">
                <a:solidFill>
                  <a:srgbClr val="000000"/>
                </a:solidFill>
              </a:rPr>
              <a:t>MRiRW</a:t>
            </a:r>
            <a:r>
              <a:rPr lang="pl-PL" dirty="0" smtClean="0">
                <a:solidFill>
                  <a:srgbClr val="000000"/>
                </a:solidFill>
              </a:rPr>
              <a:t> nie przygotuje wytycznych dotyczących sposobu dokonania obniżek w budżetach LGD.</a:t>
            </a:r>
          </a:p>
          <a:p>
            <a:pPr algn="just"/>
            <a:r>
              <a:rPr lang="pl-PL" dirty="0" smtClean="0">
                <a:solidFill>
                  <a:srgbClr val="000000"/>
                </a:solidFill>
              </a:rPr>
              <a:t>SWŁ, w uzgodnieniu z Wydziałem Radców Prawnych UMWŁ, dokona obniżenia budżetów zgodnie z poniższymi zasadami:</a:t>
            </a:r>
            <a:endParaRPr lang="pl-PL" dirty="0">
              <a:solidFill>
                <a:srgbClr val="000000"/>
              </a:solidFill>
            </a:endParaRPr>
          </a:p>
          <a:p>
            <a:pPr marL="342900" indent="-342900" algn="just">
              <a:buFont typeface="+mj-lt"/>
              <a:buAutoNum type="arabicPeriod"/>
            </a:pPr>
            <a:r>
              <a:rPr lang="pl-PL" dirty="0" smtClean="0">
                <a:solidFill>
                  <a:srgbClr val="000000"/>
                </a:solidFill>
              </a:rPr>
              <a:t>Pismo od SWŁ do LGD o konieczności dokonania obniżki z prośbą o wskazanie przedsięwzięcia lub przedsięwzięć wraz z kwotami obniżek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pl-PL" dirty="0" smtClean="0">
                <a:solidFill>
                  <a:srgbClr val="000000"/>
                </a:solidFill>
              </a:rPr>
              <a:t>Pismo od LGD do SWŁ (termin: 14 dni) z propozycją obniżki lub obniżek budżetu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pl-PL" dirty="0" smtClean="0">
                <a:solidFill>
                  <a:srgbClr val="000000"/>
                </a:solidFill>
              </a:rPr>
              <a:t>Przygotowanie aneksu przez SWŁ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pl-PL" dirty="0" smtClean="0">
                <a:solidFill>
                  <a:srgbClr val="000000"/>
                </a:solidFill>
              </a:rPr>
              <a:t>Podpisanie aneksu.</a:t>
            </a:r>
          </a:p>
          <a:p>
            <a:pPr algn="just"/>
            <a:r>
              <a:rPr lang="pl-PL" b="1" dirty="0" smtClean="0">
                <a:solidFill>
                  <a:srgbClr val="000000"/>
                </a:solidFill>
              </a:rPr>
              <a:t>NALEŻY PAMIĘTAĆ</a:t>
            </a:r>
            <a:r>
              <a:rPr lang="pl-PL" dirty="0" smtClean="0">
                <a:solidFill>
                  <a:srgbClr val="000000"/>
                </a:solidFill>
              </a:rPr>
              <a:t>: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pl-PL" dirty="0" smtClean="0">
                <a:solidFill>
                  <a:srgbClr val="000000"/>
                </a:solidFill>
              </a:rPr>
              <a:t>Nadal obowiązuje konieczność wydatkowania 50% budżetu na miejsca pracy.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pl-PL" dirty="0" smtClean="0">
                <a:solidFill>
                  <a:srgbClr val="000000"/>
                </a:solidFill>
              </a:rPr>
              <a:t>Obniżka w ramach danego przedsięwzięcia możliwa będzie tylko w przypadku dostępności niewykorzystanych środków.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pl-PL" dirty="0" smtClean="0">
                <a:solidFill>
                  <a:srgbClr val="000000"/>
                </a:solidFill>
              </a:rPr>
              <a:t>Aneks należy podpisać do 30 czerwca 2019 roku.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pl-PL" dirty="0" smtClean="0">
                <a:solidFill>
                  <a:srgbClr val="000000"/>
                </a:solidFill>
              </a:rPr>
              <a:t>Do momentu podpisania aneksu SWŁ nie będzie wyrażać zgody na uruchomienie kolejnych naborów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66592043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088" y="332656"/>
            <a:ext cx="8177212" cy="592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lnSpc>
                <a:spcPct val="110000"/>
              </a:lnSpc>
            </a:pPr>
            <a:endParaRPr lang="pl-PL" altLang="pl-PL" sz="3200" dirty="0">
              <a:solidFill>
                <a:srgbClr val="FFFFFF"/>
              </a:solidFill>
              <a:latin typeface="Gabriola" pitchFamily="82" charset="0"/>
              <a:cs typeface="Segoe UI" pitchFamily="34" charset="0"/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389134" y="2118921"/>
            <a:ext cx="8208912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pl-PL" sz="3600" b="1" dirty="0" smtClean="0">
                <a:solidFill>
                  <a:srgbClr val="FFFFFF"/>
                </a:solidFill>
              </a:rPr>
              <a:t>Dziękuję</a:t>
            </a:r>
          </a:p>
          <a:p>
            <a:pPr algn="ctr">
              <a:spcAft>
                <a:spcPts val="1200"/>
              </a:spcAft>
            </a:pPr>
            <a:endParaRPr lang="pl-PL" sz="3600" b="1" dirty="0">
              <a:solidFill>
                <a:srgbClr val="FFFFFF"/>
              </a:solidFill>
            </a:endParaRPr>
          </a:p>
          <a:p>
            <a:pPr algn="ctr">
              <a:spcAft>
                <a:spcPts val="1200"/>
              </a:spcAft>
            </a:pPr>
            <a:endParaRPr lang="pl-PL" sz="3600" b="1" dirty="0">
              <a:solidFill>
                <a:srgbClr val="FFFFFF"/>
              </a:solidFill>
            </a:endParaRPr>
          </a:p>
        </p:txBody>
      </p:sp>
      <p:pic>
        <p:nvPicPr>
          <p:cNvPr id="6" name="Obraz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71663"/>
            <a:ext cx="9144000" cy="1293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141357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az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DRUGI ANEKS</a:t>
            </a:r>
          </a:p>
        </p:txBody>
      </p:sp>
      <p:sp>
        <p:nvSpPr>
          <p:cNvPr id="2" name="pole tekstowe 1"/>
          <p:cNvSpPr txBox="1"/>
          <p:nvPr/>
        </p:nvSpPr>
        <p:spPr>
          <a:xfrm>
            <a:off x="324904" y="843677"/>
            <a:ext cx="8567576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dirty="0">
                <a:solidFill>
                  <a:srgbClr val="000000"/>
                </a:solidFill>
              </a:rPr>
              <a:t>Jeżeli do 31 grudnia 2018 roku LGD:</a:t>
            </a:r>
            <a:endParaRPr lang="pl-PL" sz="2000" b="1" dirty="0">
              <a:solidFill>
                <a:srgbClr val="000000"/>
              </a:solidFill>
            </a:endParaRPr>
          </a:p>
          <a:p>
            <a:pPr marL="285750" indent="-285750" algn="just">
              <a:buFont typeface="Arial" pitchFamily="34" charset="0"/>
              <a:buChar char="•"/>
            </a:pPr>
            <a:r>
              <a:rPr lang="pl-PL" dirty="0">
                <a:solidFill>
                  <a:srgbClr val="000000"/>
                </a:solidFill>
              </a:rPr>
              <a:t>nie osiągnie co </a:t>
            </a:r>
            <a:r>
              <a:rPr lang="pl-PL" dirty="0" smtClean="0">
                <a:solidFill>
                  <a:srgbClr val="000000"/>
                </a:solidFill>
              </a:rPr>
              <a:t>najmniej:</a:t>
            </a:r>
          </a:p>
          <a:p>
            <a:pPr marL="742950" lvl="1" indent="-285750" algn="just">
              <a:buFont typeface="Arial" pitchFamily="34" charset="0"/>
              <a:buChar char="•"/>
            </a:pPr>
            <a:r>
              <a:rPr lang="pl-PL" dirty="0" smtClean="0">
                <a:solidFill>
                  <a:srgbClr val="000000"/>
                </a:solidFill>
              </a:rPr>
              <a:t>40</a:t>
            </a:r>
            <a:r>
              <a:rPr lang="pl-PL" dirty="0">
                <a:solidFill>
                  <a:srgbClr val="000000"/>
                </a:solidFill>
              </a:rPr>
              <a:t>% poziomu każdego ze wskaźników produktu </a:t>
            </a:r>
            <a:r>
              <a:rPr lang="pl-PL" dirty="0" smtClean="0">
                <a:solidFill>
                  <a:srgbClr val="000000"/>
                </a:solidFill>
              </a:rPr>
              <a:t>oraz</a:t>
            </a:r>
          </a:p>
          <a:p>
            <a:pPr marL="742950" lvl="1" indent="-285750" algn="just">
              <a:buFont typeface="Arial" pitchFamily="34" charset="0"/>
              <a:buChar char="•"/>
            </a:pPr>
            <a:r>
              <a:rPr lang="pl-PL" dirty="0" smtClean="0">
                <a:solidFill>
                  <a:srgbClr val="000000"/>
                </a:solidFill>
              </a:rPr>
              <a:t>60</a:t>
            </a:r>
            <a:r>
              <a:rPr lang="pl-PL" dirty="0">
                <a:solidFill>
                  <a:srgbClr val="000000"/>
                </a:solidFill>
              </a:rPr>
              <a:t>% średniego poziomu realizacji wszystkich wskaźników produktu</a:t>
            </a:r>
            <a:br>
              <a:rPr lang="pl-PL" dirty="0">
                <a:solidFill>
                  <a:srgbClr val="000000"/>
                </a:solidFill>
              </a:rPr>
            </a:br>
            <a:r>
              <a:rPr lang="pl-PL" dirty="0">
                <a:solidFill>
                  <a:srgbClr val="000000"/>
                </a:solidFill>
              </a:rPr>
              <a:t>obliczonego jako stosunek sumy poziomów realizacji każdego</a:t>
            </a:r>
            <a:br>
              <a:rPr lang="pl-PL" dirty="0">
                <a:solidFill>
                  <a:srgbClr val="000000"/>
                </a:solidFill>
              </a:rPr>
            </a:br>
            <a:r>
              <a:rPr lang="pl-PL" dirty="0">
                <a:solidFill>
                  <a:srgbClr val="000000"/>
                </a:solidFill>
              </a:rPr>
              <a:t>ze wskaźników produktu do liczby wskaźników produktu, przy czym do</a:t>
            </a:r>
            <a:br>
              <a:rPr lang="pl-PL" dirty="0">
                <a:solidFill>
                  <a:srgbClr val="000000"/>
                </a:solidFill>
              </a:rPr>
            </a:br>
            <a:r>
              <a:rPr lang="pl-PL" dirty="0">
                <a:solidFill>
                  <a:srgbClr val="000000"/>
                </a:solidFill>
              </a:rPr>
              <a:t>wyliczenia średniego poziomu realizacji wszystkich wskaźników</a:t>
            </a:r>
            <a:br>
              <a:rPr lang="pl-PL" dirty="0">
                <a:solidFill>
                  <a:srgbClr val="000000"/>
                </a:solidFill>
              </a:rPr>
            </a:br>
            <a:r>
              <a:rPr lang="pl-PL" dirty="0">
                <a:solidFill>
                  <a:srgbClr val="000000"/>
                </a:solidFill>
              </a:rPr>
              <a:t>produktu poziom wskaźników przewyższający wartość 100% przyjmuje</a:t>
            </a:r>
            <a:br>
              <a:rPr lang="pl-PL" dirty="0">
                <a:solidFill>
                  <a:srgbClr val="000000"/>
                </a:solidFill>
              </a:rPr>
            </a:br>
            <a:r>
              <a:rPr lang="pl-PL" dirty="0">
                <a:solidFill>
                  <a:srgbClr val="000000"/>
                </a:solidFill>
              </a:rPr>
              <a:t>się jako poziom 100%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pl-PL" dirty="0" smtClean="0">
                <a:solidFill>
                  <a:srgbClr val="000000"/>
                </a:solidFill>
              </a:rPr>
              <a:t>nie </a:t>
            </a:r>
            <a:r>
              <a:rPr lang="pl-PL" dirty="0">
                <a:solidFill>
                  <a:srgbClr val="000000"/>
                </a:solidFill>
              </a:rPr>
              <a:t>wykorzysta co najmniej 60% środków finansowych przeznaczonych na wsparcie realizacji operacji w ramach LSR w latach 2016-2018, a w przypadku, gdy LSR przewiduje finansowanie w </a:t>
            </a:r>
            <a:r>
              <a:rPr lang="pl-PL" dirty="0" smtClean="0">
                <a:solidFill>
                  <a:srgbClr val="000000"/>
                </a:solidFill>
              </a:rPr>
              <a:t>ramach PROW</a:t>
            </a:r>
            <a:r>
              <a:rPr lang="pl-PL" dirty="0">
                <a:solidFill>
                  <a:srgbClr val="000000"/>
                </a:solidFill>
              </a:rPr>
              <a:t>, </a:t>
            </a:r>
            <a:r>
              <a:rPr lang="pl-PL" dirty="0" smtClean="0">
                <a:solidFill>
                  <a:srgbClr val="000000"/>
                </a:solidFill>
              </a:rPr>
              <a:t>dodatkowo</a:t>
            </a:r>
          </a:p>
          <a:p>
            <a:pPr marL="742950" lvl="1" indent="-285750" algn="just">
              <a:buFont typeface="Arial" pitchFamily="34" charset="0"/>
              <a:buChar char="•"/>
            </a:pPr>
            <a:r>
              <a:rPr lang="pl-PL" dirty="0" smtClean="0">
                <a:solidFill>
                  <a:srgbClr val="000000"/>
                </a:solidFill>
              </a:rPr>
              <a:t>nie </a:t>
            </a:r>
            <a:r>
              <a:rPr lang="pl-PL" dirty="0">
                <a:solidFill>
                  <a:srgbClr val="000000"/>
                </a:solidFill>
              </a:rPr>
              <a:t>wykorzysta co najmniej 20% środków finansowych przeznaczonych na utworzenie/utrzymanie miejsc pracy w ramach </a:t>
            </a:r>
            <a:r>
              <a:rPr lang="pl-PL" dirty="0" smtClean="0">
                <a:solidFill>
                  <a:srgbClr val="000000"/>
                </a:solidFill>
              </a:rPr>
              <a:t>LSR,</a:t>
            </a:r>
            <a:endParaRPr lang="pl-PL" sz="2000" b="1" dirty="0">
              <a:solidFill>
                <a:srgbClr val="000000"/>
              </a:solidFill>
            </a:endParaRPr>
          </a:p>
          <a:p>
            <a:pPr algn="just"/>
            <a:r>
              <a:rPr lang="pl-PL" dirty="0">
                <a:solidFill>
                  <a:srgbClr val="000000"/>
                </a:solidFill>
              </a:rPr>
              <a:t>kwota określona w § 4 ust. 1 umowy w ramach danego funduszu ulega obniżeniu </a:t>
            </a:r>
            <a:br>
              <a:rPr lang="pl-PL" dirty="0">
                <a:solidFill>
                  <a:srgbClr val="000000"/>
                </a:solidFill>
              </a:rPr>
            </a:br>
            <a:r>
              <a:rPr lang="pl-PL" dirty="0">
                <a:solidFill>
                  <a:srgbClr val="000000"/>
                </a:solidFill>
              </a:rPr>
              <a:t>o 10 </a:t>
            </a:r>
            <a:r>
              <a:rPr lang="pl-PL" dirty="0" smtClean="0">
                <a:solidFill>
                  <a:srgbClr val="000000"/>
                </a:solidFill>
              </a:rPr>
              <a:t>%.</a:t>
            </a:r>
            <a:endParaRPr lang="pl-PL" sz="2000" b="1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3416177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Obraz 2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OSIĄGNIĘCIE KAMIENIA MILOWEGO</a:t>
            </a:r>
          </a:p>
        </p:txBody>
      </p:sp>
      <p:sp>
        <p:nvSpPr>
          <p:cNvPr id="12" name="Prostokąt 11"/>
          <p:cNvSpPr/>
          <p:nvPr/>
        </p:nvSpPr>
        <p:spPr>
          <a:xfrm>
            <a:off x="2843804" y="862147"/>
            <a:ext cx="2304000" cy="324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13" name="Prostokąt 12"/>
          <p:cNvSpPr/>
          <p:nvPr/>
        </p:nvSpPr>
        <p:spPr>
          <a:xfrm>
            <a:off x="5147804" y="862147"/>
            <a:ext cx="3456000" cy="324036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14" name="Prostokąt 13"/>
          <p:cNvSpPr/>
          <p:nvPr/>
        </p:nvSpPr>
        <p:spPr>
          <a:xfrm>
            <a:off x="2838751" y="1512132"/>
            <a:ext cx="2304000" cy="324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15" name="Prostokąt 14"/>
          <p:cNvSpPr/>
          <p:nvPr/>
        </p:nvSpPr>
        <p:spPr>
          <a:xfrm>
            <a:off x="2838751" y="1188096"/>
            <a:ext cx="2304000" cy="324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16" name="Prostokąt 15"/>
          <p:cNvSpPr/>
          <p:nvPr/>
        </p:nvSpPr>
        <p:spPr>
          <a:xfrm>
            <a:off x="5147808" y="1188096"/>
            <a:ext cx="3456000" cy="324036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17" name="Prostokąt 16"/>
          <p:cNvSpPr/>
          <p:nvPr/>
        </p:nvSpPr>
        <p:spPr>
          <a:xfrm>
            <a:off x="5142751" y="1512132"/>
            <a:ext cx="3456000" cy="324036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18" name="Prostokąt 17"/>
          <p:cNvSpPr/>
          <p:nvPr/>
        </p:nvSpPr>
        <p:spPr>
          <a:xfrm>
            <a:off x="2820540" y="2664252"/>
            <a:ext cx="3456000" cy="324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19" name="Prostokąt 18"/>
          <p:cNvSpPr/>
          <p:nvPr/>
        </p:nvSpPr>
        <p:spPr>
          <a:xfrm>
            <a:off x="6276540" y="2664252"/>
            <a:ext cx="2304000" cy="324036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20" name="Prostokąt 19"/>
          <p:cNvSpPr/>
          <p:nvPr/>
        </p:nvSpPr>
        <p:spPr>
          <a:xfrm>
            <a:off x="2820540" y="3893964"/>
            <a:ext cx="3456000" cy="324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21" name="Prostokąt 20"/>
          <p:cNvSpPr/>
          <p:nvPr/>
        </p:nvSpPr>
        <p:spPr>
          <a:xfrm>
            <a:off x="6276540" y="3893964"/>
            <a:ext cx="2304000" cy="324036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22" name="Prostokąt 21"/>
          <p:cNvSpPr/>
          <p:nvPr/>
        </p:nvSpPr>
        <p:spPr>
          <a:xfrm>
            <a:off x="2820540" y="5130834"/>
            <a:ext cx="1152000" cy="324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23" name="Prostokąt 22"/>
          <p:cNvSpPr/>
          <p:nvPr/>
        </p:nvSpPr>
        <p:spPr>
          <a:xfrm>
            <a:off x="3972540" y="5130834"/>
            <a:ext cx="4608000" cy="324036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2" name="pole tekstowe 1"/>
          <p:cNvSpPr txBox="1"/>
          <p:nvPr/>
        </p:nvSpPr>
        <p:spPr>
          <a:xfrm>
            <a:off x="303200" y="843677"/>
            <a:ext cx="8567576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sz="2000" dirty="0" smtClean="0">
                <a:solidFill>
                  <a:srgbClr val="000000"/>
                </a:solidFill>
              </a:rPr>
              <a:t>Wskaźnik 1:                                                 40%</a:t>
            </a:r>
          </a:p>
          <a:p>
            <a:pPr algn="just"/>
            <a:r>
              <a:rPr lang="pl-PL" sz="2000" dirty="0" smtClean="0">
                <a:solidFill>
                  <a:srgbClr val="000000"/>
                </a:solidFill>
              </a:rPr>
              <a:t>Wskaźnik 2:                                                 40%</a:t>
            </a:r>
          </a:p>
          <a:p>
            <a:pPr algn="just"/>
            <a:r>
              <a:rPr lang="pl-PL" sz="2000" dirty="0" smtClean="0">
                <a:solidFill>
                  <a:srgbClr val="000000"/>
                </a:solidFill>
              </a:rPr>
              <a:t>Wskaźnik n:                                                 40%</a:t>
            </a:r>
          </a:p>
          <a:p>
            <a:pPr algn="just"/>
            <a:endParaRPr lang="pl-PL" sz="2000" dirty="0" smtClean="0">
              <a:solidFill>
                <a:srgbClr val="000000"/>
              </a:solidFill>
            </a:endParaRPr>
          </a:p>
          <a:p>
            <a:pPr algn="just"/>
            <a:r>
              <a:rPr lang="pl-PL" sz="2000" dirty="0">
                <a:solidFill>
                  <a:srgbClr val="000000"/>
                </a:solidFill>
              </a:rPr>
              <a:t>l</a:t>
            </a:r>
            <a:r>
              <a:rPr lang="pl-PL" sz="2000" dirty="0" smtClean="0">
                <a:solidFill>
                  <a:srgbClr val="000000"/>
                </a:solidFill>
              </a:rPr>
              <a:t>ub</a:t>
            </a:r>
          </a:p>
          <a:p>
            <a:pPr algn="just"/>
            <a:endParaRPr lang="pl-PL" sz="2000" dirty="0">
              <a:solidFill>
                <a:srgbClr val="000000"/>
              </a:solidFill>
            </a:endParaRPr>
          </a:p>
          <a:p>
            <a:pPr algn="just"/>
            <a:r>
              <a:rPr lang="pl-PL" sz="2000" dirty="0" smtClean="0">
                <a:solidFill>
                  <a:srgbClr val="000000"/>
                </a:solidFill>
              </a:rPr>
              <a:t>Wskaźniki:                                                                    60%</a:t>
            </a:r>
          </a:p>
          <a:p>
            <a:pPr algn="just"/>
            <a:endParaRPr lang="pl-PL" sz="2000" dirty="0" smtClean="0">
              <a:solidFill>
                <a:srgbClr val="000000"/>
              </a:solidFill>
            </a:endParaRPr>
          </a:p>
          <a:p>
            <a:pPr algn="just"/>
            <a:endParaRPr lang="pl-PL" sz="2000" dirty="0" smtClean="0">
              <a:solidFill>
                <a:srgbClr val="000000"/>
              </a:solidFill>
            </a:endParaRPr>
          </a:p>
          <a:p>
            <a:pPr algn="just"/>
            <a:endParaRPr lang="pl-PL" sz="2000" dirty="0">
              <a:solidFill>
                <a:srgbClr val="000000"/>
              </a:solidFill>
            </a:endParaRPr>
          </a:p>
          <a:p>
            <a:pPr algn="just"/>
            <a:r>
              <a:rPr lang="pl-PL" sz="2000" dirty="0" smtClean="0">
                <a:solidFill>
                  <a:srgbClr val="000000"/>
                </a:solidFill>
              </a:rPr>
              <a:t>Budżet 2018:                                                                60%</a:t>
            </a:r>
          </a:p>
          <a:p>
            <a:pPr algn="just"/>
            <a:endParaRPr lang="pl-PL" sz="2000" dirty="0" smtClean="0">
              <a:solidFill>
                <a:srgbClr val="000000"/>
              </a:solidFill>
            </a:endParaRPr>
          </a:p>
          <a:p>
            <a:pPr algn="just"/>
            <a:endParaRPr lang="pl-PL" sz="2000" dirty="0" smtClean="0">
              <a:solidFill>
                <a:srgbClr val="000000"/>
              </a:solidFill>
            </a:endParaRPr>
          </a:p>
          <a:p>
            <a:pPr algn="just"/>
            <a:endParaRPr lang="pl-PL" sz="2000" dirty="0">
              <a:solidFill>
                <a:srgbClr val="000000"/>
              </a:solidFill>
            </a:endParaRPr>
          </a:p>
          <a:p>
            <a:pPr algn="just"/>
            <a:r>
              <a:rPr lang="pl-PL" sz="2000" dirty="0" smtClean="0">
                <a:solidFill>
                  <a:srgbClr val="000000"/>
                </a:solidFill>
              </a:rPr>
              <a:t>Miejsca pracy </a:t>
            </a:r>
            <a:r>
              <a:rPr lang="pl-PL" sz="2000" b="1" u="sng" dirty="0" smtClean="0">
                <a:solidFill>
                  <a:srgbClr val="000000"/>
                </a:solidFill>
              </a:rPr>
              <a:t>ALL</a:t>
            </a:r>
            <a:r>
              <a:rPr lang="pl-PL" sz="2000" dirty="0" smtClean="0">
                <a:solidFill>
                  <a:srgbClr val="000000"/>
                </a:solidFill>
              </a:rPr>
              <a:t>:                     20%</a:t>
            </a:r>
          </a:p>
          <a:p>
            <a:pPr algn="just"/>
            <a:endParaRPr lang="pl-PL" sz="2000" b="1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56845719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PIERWSZE PISMO PONAGLAJĄCE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905" y="843677"/>
            <a:ext cx="5111192" cy="2160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905" y="3400111"/>
            <a:ext cx="5975287" cy="2223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Prostokąt 3"/>
          <p:cNvSpPr/>
          <p:nvPr/>
        </p:nvSpPr>
        <p:spPr>
          <a:xfrm>
            <a:off x="1907704" y="3789040"/>
            <a:ext cx="1728192" cy="1440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11" name="Prostokąt 10"/>
          <p:cNvSpPr/>
          <p:nvPr/>
        </p:nvSpPr>
        <p:spPr>
          <a:xfrm>
            <a:off x="899592" y="2132856"/>
            <a:ext cx="1728192" cy="288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40845753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DRUGIE PISMO PONAGLAJĄCE</a:t>
            </a:r>
          </a:p>
        </p:txBody>
      </p:sp>
      <p:sp>
        <p:nvSpPr>
          <p:cNvPr id="4" name="Prostokąt 3"/>
          <p:cNvSpPr/>
          <p:nvPr/>
        </p:nvSpPr>
        <p:spPr>
          <a:xfrm>
            <a:off x="1907704" y="3789040"/>
            <a:ext cx="1728192" cy="1440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11" name="Prostokąt 10"/>
          <p:cNvSpPr/>
          <p:nvPr/>
        </p:nvSpPr>
        <p:spPr>
          <a:xfrm>
            <a:off x="899592" y="2132856"/>
            <a:ext cx="1728192" cy="288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904" y="864291"/>
            <a:ext cx="5895975" cy="146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904" y="2466168"/>
            <a:ext cx="5991225" cy="1990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Prostokąt 11"/>
          <p:cNvSpPr/>
          <p:nvPr/>
        </p:nvSpPr>
        <p:spPr>
          <a:xfrm>
            <a:off x="3788296" y="2830910"/>
            <a:ext cx="567680" cy="1440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13" name="Prostokąt 12"/>
          <p:cNvSpPr/>
          <p:nvPr/>
        </p:nvSpPr>
        <p:spPr>
          <a:xfrm>
            <a:off x="4860032" y="2995826"/>
            <a:ext cx="288032" cy="1440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14" name="Prostokąt 13"/>
          <p:cNvSpPr/>
          <p:nvPr/>
        </p:nvSpPr>
        <p:spPr>
          <a:xfrm>
            <a:off x="2195735" y="3461530"/>
            <a:ext cx="4025143" cy="32338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15" name="Prostokąt 14"/>
          <p:cNvSpPr/>
          <p:nvPr/>
        </p:nvSpPr>
        <p:spPr>
          <a:xfrm>
            <a:off x="1977372" y="3953468"/>
            <a:ext cx="4025143" cy="32338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16" name="Prostokąt 15"/>
          <p:cNvSpPr/>
          <p:nvPr/>
        </p:nvSpPr>
        <p:spPr>
          <a:xfrm>
            <a:off x="1050913" y="4115162"/>
            <a:ext cx="926459" cy="34173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429" y="4725144"/>
            <a:ext cx="5981700" cy="904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Prostokąt 17"/>
          <p:cNvSpPr/>
          <p:nvPr/>
        </p:nvSpPr>
        <p:spPr>
          <a:xfrm>
            <a:off x="4876020" y="4653136"/>
            <a:ext cx="416060" cy="1440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19" name="Prostokąt 18"/>
          <p:cNvSpPr/>
          <p:nvPr/>
        </p:nvSpPr>
        <p:spPr>
          <a:xfrm>
            <a:off x="5444480" y="3416001"/>
            <a:ext cx="416060" cy="1440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86087569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Obraz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2467504"/>
              </p:ext>
            </p:extLst>
          </p:nvPr>
        </p:nvGraphicFramePr>
        <p:xfrm>
          <a:off x="324896" y="843674"/>
          <a:ext cx="8447280" cy="4831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118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118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118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118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85219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LGD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Liczba wskaźników z LSR</a:t>
                      </a:r>
                      <a:r>
                        <a:rPr lang="pl-PL" sz="1100" baseline="0" dirty="0" smtClean="0"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Liczba wskaźników osiągniętych w 40%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Procent osiągnięcia wszystkich wskaźników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4390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Pilic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10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10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err="1" smtClean="0">
                          <a:latin typeface="Arial" pitchFamily="34" charset="0"/>
                          <a:cs typeface="Arial" pitchFamily="34" charset="0"/>
                        </a:rPr>
                        <a:t>Prosn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Łuk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97,96%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Centrum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93,94%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Ster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92,86%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Prym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92,61%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err="1" smtClean="0">
                          <a:latin typeface="Arial" pitchFamily="34" charset="0"/>
                          <a:cs typeface="Arial" pitchFamily="34" charset="0"/>
                        </a:rPr>
                        <a:t>Grabi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91,67%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Jeziorsko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11</a:t>
                      </a:r>
                      <a:endParaRPr lang="pl-PL" sz="11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9</a:t>
                      </a:r>
                      <a:endParaRPr lang="pl-PL" sz="11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78,41%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Buduj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11</a:t>
                      </a:r>
                      <a:endParaRPr lang="pl-PL" sz="11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10</a:t>
                      </a:r>
                      <a:endParaRPr lang="pl-PL" sz="11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77,16%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Łowicz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11</a:t>
                      </a:r>
                      <a:endParaRPr lang="pl-PL" sz="11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8</a:t>
                      </a:r>
                      <a:endParaRPr lang="pl-PL" sz="11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74,03%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Rawk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9</a:t>
                      </a:r>
                      <a:endParaRPr lang="pl-PL" sz="11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8</a:t>
                      </a:r>
                      <a:endParaRPr lang="pl-PL" sz="11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70,75%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Podkow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25</a:t>
                      </a:r>
                      <a:endParaRPr lang="pl-PL" sz="11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16</a:t>
                      </a:r>
                      <a:endParaRPr lang="pl-PL" sz="11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62,00%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Wieluń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9</a:t>
                      </a:r>
                      <a:endParaRPr lang="pl-PL" sz="11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  <a:endParaRPr lang="pl-PL" sz="11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61,57%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Gniazdo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12</a:t>
                      </a:r>
                      <a:endParaRPr lang="pl-PL" sz="11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8</a:t>
                      </a:r>
                      <a:endParaRPr lang="pl-PL" sz="11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60,24%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Mrog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11</a:t>
                      </a:r>
                      <a:endParaRPr lang="pl-PL" sz="11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lang="pl-PL" sz="11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44,44%</a:t>
                      </a:r>
                      <a:endParaRPr lang="pl-PL" sz="11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err="1" smtClean="0">
                          <a:latin typeface="Arial" pitchFamily="34" charset="0"/>
                          <a:cs typeface="Arial" pitchFamily="34" charset="0"/>
                        </a:rPr>
                        <a:t>Polcentrum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pl-PL" sz="11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pl-PL" sz="11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7,22%</a:t>
                      </a:r>
                      <a:endParaRPr lang="pl-PL" sz="11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Łęczyc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pl-PL" sz="11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l-PL" sz="11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0,00%</a:t>
                      </a:r>
                      <a:endParaRPr lang="pl-PL" sz="11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WARUNEK 1 - WSKAŹNIKI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4084534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Obraz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6724610"/>
              </p:ext>
            </p:extLst>
          </p:nvPr>
        </p:nvGraphicFramePr>
        <p:xfrm>
          <a:off x="324894" y="843674"/>
          <a:ext cx="8447282" cy="478957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236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236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5219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LGD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Wykorzystanie budżetu planowanego do 2018 roku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4390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err="1" smtClean="0">
                          <a:latin typeface="Arial" pitchFamily="34" charset="0"/>
                          <a:cs typeface="Arial" pitchFamily="34" charset="0"/>
                        </a:rPr>
                        <a:t>Prosn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55,3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Pilic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35,5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Gniazdo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68,6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Łowicz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42,0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err="1" smtClean="0">
                          <a:latin typeface="Arial" pitchFamily="34" charset="0"/>
                          <a:cs typeface="Arial" pitchFamily="34" charset="0"/>
                        </a:rPr>
                        <a:t>Grabi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41,6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Rawk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33,9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Podkow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9,3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Łuk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6,8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Buduj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5,9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Centrum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5,9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Ster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5,4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Jeziorsko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5,7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Prym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4,5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Mrog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3,4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Wieluń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8,1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err="1" smtClean="0">
                          <a:latin typeface="Arial" pitchFamily="34" charset="0"/>
                          <a:cs typeface="Arial" pitchFamily="34" charset="0"/>
                        </a:rPr>
                        <a:t>Polcentrum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1,7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Łęczyc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,0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WARUNEK 2 – BUDŻET 2018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2206774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Obraz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6601407"/>
              </p:ext>
            </p:extLst>
          </p:nvPr>
        </p:nvGraphicFramePr>
        <p:xfrm>
          <a:off x="324894" y="843674"/>
          <a:ext cx="8447282" cy="4831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236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236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5219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LGD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Wykorzystanie budżetu planowanego na miejsca pracy do 2023 roku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4390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Prym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9,9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err="1" smtClean="0">
                          <a:latin typeface="Arial" pitchFamily="34" charset="0"/>
                          <a:cs typeface="Arial" pitchFamily="34" charset="0"/>
                        </a:rPr>
                        <a:t>Prosn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4,1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err="1" smtClean="0">
                          <a:latin typeface="Arial" pitchFamily="34" charset="0"/>
                          <a:cs typeface="Arial" pitchFamily="34" charset="0"/>
                        </a:rPr>
                        <a:t>Grabi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7,6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Rawk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5,5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Mrog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3,5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Centrum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3,0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Wieluń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8,0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Podkow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7,1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Jeziorsko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4,0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Buduj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0,2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Ster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9,3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Łowicz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4,0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Łuk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7,7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Gniazdo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9,7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Pilic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4,7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err="1" smtClean="0">
                          <a:latin typeface="Arial" pitchFamily="34" charset="0"/>
                          <a:cs typeface="Arial" pitchFamily="34" charset="0"/>
                        </a:rPr>
                        <a:t>Polcentrum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6,3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Łęczyc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,0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WARUNEK 3 – BUDŻET NA MIEJSCA PRACY 202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8034783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az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OBNIŻKI W WOJEWÓDZTWIE ŁÓDZKIM</a:t>
            </a:r>
          </a:p>
        </p:txBody>
      </p:sp>
      <p:sp>
        <p:nvSpPr>
          <p:cNvPr id="2" name="pole tekstowe 1"/>
          <p:cNvSpPr txBox="1"/>
          <p:nvPr/>
        </p:nvSpPr>
        <p:spPr>
          <a:xfrm>
            <a:off x="324904" y="843677"/>
            <a:ext cx="8567576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pl-PL" dirty="0" smtClean="0">
              <a:solidFill>
                <a:srgbClr val="000000"/>
              </a:solidFill>
            </a:endParaRPr>
          </a:p>
          <a:p>
            <a:pPr algn="ctr"/>
            <a:endParaRPr lang="pl-PL" sz="2000" dirty="0" smtClean="0">
              <a:solidFill>
                <a:srgbClr val="000000"/>
              </a:solidFill>
            </a:endParaRPr>
          </a:p>
          <a:p>
            <a:pPr algn="ctr"/>
            <a:r>
              <a:rPr lang="pl-PL" sz="2000" dirty="0" smtClean="0">
                <a:solidFill>
                  <a:srgbClr val="000000"/>
                </a:solidFill>
              </a:rPr>
              <a:t>Stowarzyszenie </a:t>
            </a:r>
            <a:r>
              <a:rPr lang="pl-PL" sz="2000" dirty="0">
                <a:solidFill>
                  <a:srgbClr val="000000"/>
                </a:solidFill>
              </a:rPr>
              <a:t>Na Rzecz Rozwoju Społeczności Lokalnej </a:t>
            </a:r>
            <a:r>
              <a:rPr lang="pl-PL" sz="2000" dirty="0" smtClean="0">
                <a:solidFill>
                  <a:srgbClr val="000000"/>
                </a:solidFill>
              </a:rPr>
              <a:t>„Mroga”</a:t>
            </a:r>
          </a:p>
          <a:p>
            <a:pPr algn="ctr"/>
            <a:r>
              <a:rPr lang="pl-PL" sz="2800" b="1" dirty="0" smtClean="0">
                <a:solidFill>
                  <a:srgbClr val="000000"/>
                </a:solidFill>
              </a:rPr>
              <a:t>700 000 złotych</a:t>
            </a:r>
          </a:p>
          <a:p>
            <a:pPr algn="ctr"/>
            <a:endParaRPr lang="pl-PL" sz="2000" b="1" dirty="0">
              <a:solidFill>
                <a:srgbClr val="000000"/>
              </a:solidFill>
            </a:endParaRPr>
          </a:p>
          <a:p>
            <a:pPr algn="ctr"/>
            <a:r>
              <a:rPr lang="pl-PL" sz="2000" dirty="0">
                <a:solidFill>
                  <a:srgbClr val="000000"/>
                </a:solidFill>
              </a:rPr>
              <a:t>Stowarzyszenie Lokalna Grupa Działania </a:t>
            </a:r>
            <a:r>
              <a:rPr lang="pl-PL" sz="2000" dirty="0" smtClean="0">
                <a:solidFill>
                  <a:srgbClr val="000000"/>
                </a:solidFill>
              </a:rPr>
              <a:t>„</a:t>
            </a:r>
            <a:r>
              <a:rPr lang="pl-PL" sz="2000" dirty="0" err="1" smtClean="0">
                <a:solidFill>
                  <a:srgbClr val="000000"/>
                </a:solidFill>
              </a:rPr>
              <a:t>Polcentrum</a:t>
            </a:r>
            <a:r>
              <a:rPr lang="pl-PL" sz="2000" dirty="0" smtClean="0">
                <a:solidFill>
                  <a:srgbClr val="000000"/>
                </a:solidFill>
              </a:rPr>
              <a:t>”</a:t>
            </a:r>
          </a:p>
          <a:p>
            <a:pPr algn="ctr"/>
            <a:r>
              <a:rPr lang="pl-PL" sz="2800" b="1" dirty="0" smtClean="0">
                <a:solidFill>
                  <a:srgbClr val="000000"/>
                </a:solidFill>
              </a:rPr>
              <a:t>570 000 złotych</a:t>
            </a:r>
          </a:p>
          <a:p>
            <a:pPr algn="ctr"/>
            <a:endParaRPr lang="pl-PL" sz="2000" b="1" dirty="0">
              <a:solidFill>
                <a:srgbClr val="000000"/>
              </a:solidFill>
            </a:endParaRPr>
          </a:p>
          <a:p>
            <a:pPr algn="ctr"/>
            <a:r>
              <a:rPr lang="pl-PL" sz="2000" dirty="0">
                <a:solidFill>
                  <a:srgbClr val="000000"/>
                </a:solidFill>
              </a:rPr>
              <a:t>Lokalna Grupa Działania </a:t>
            </a:r>
            <a:r>
              <a:rPr lang="pl-PL" sz="2000" dirty="0" smtClean="0">
                <a:solidFill>
                  <a:srgbClr val="000000"/>
                </a:solidFill>
              </a:rPr>
              <a:t>„Ziemia Łęczycka”</a:t>
            </a:r>
          </a:p>
          <a:p>
            <a:pPr algn="ctr"/>
            <a:r>
              <a:rPr lang="pl-PL" sz="2800" b="1" dirty="0" smtClean="0">
                <a:solidFill>
                  <a:srgbClr val="000000"/>
                </a:solidFill>
              </a:rPr>
              <a:t>450 000 złotych</a:t>
            </a:r>
            <a:endParaRPr lang="pl-PL" sz="2800" b="1" dirty="0">
              <a:solidFill>
                <a:srgbClr val="000000"/>
              </a:solidFill>
            </a:endParaRPr>
          </a:p>
        </p:txBody>
      </p:sp>
      <p:pic>
        <p:nvPicPr>
          <p:cNvPr id="1026" name="Picture 2" descr="C:\Users\michal.kosmowski\AppData\Local\Microsoft\Windows\Temporary Internet Files\Content.IE5\YETQLQ3Y\smiley-1635454_960_720[1]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8592" y="3717032"/>
            <a:ext cx="1907798" cy="1907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35285039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heme/theme1.xml><?xml version="1.0" encoding="utf-8"?>
<a:theme xmlns:a="http://schemas.openxmlformats.org/drawingml/2006/main" name="początk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2_czerwony">
  <a:themeElements>
    <a:clrScheme name="12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2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2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3_czerwony">
  <a:themeElements>
    <a:clrScheme name="13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3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3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4_czerwony">
  <a:themeElements>
    <a:clrScheme name="14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4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4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5_czerwony">
  <a:themeElements>
    <a:clrScheme name="15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5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5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6_czerwony">
  <a:themeElements>
    <a:clrScheme name="16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6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6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7_czerwony">
  <a:themeElements>
    <a:clrScheme name="17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7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7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8_czerwony">
  <a:themeElements>
    <a:clrScheme name="18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8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8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9_czerwony">
  <a:themeElements>
    <a:clrScheme name="19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9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pomarańcz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1_pomarańcz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zerw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żółt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1_żółt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róż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1_róż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granat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1_granat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turkus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1_turkus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końc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1_końc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czerw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0.xml><?xml version="1.0" encoding="utf-8"?>
<a:theme xmlns:a="http://schemas.openxmlformats.org/drawingml/2006/main" name="21_czerwony">
  <a:themeElements>
    <a:clrScheme name="21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1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1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22_czerwony">
  <a:themeElements>
    <a:clrScheme name="22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2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2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2.xml><?xml version="1.0" encoding="utf-8"?>
<a:theme xmlns:a="http://schemas.openxmlformats.org/drawingml/2006/main" name="23_czerwony">
  <a:themeElements>
    <a:clrScheme name="23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3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3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3.xml><?xml version="1.0" encoding="utf-8"?>
<a:theme xmlns:a="http://schemas.openxmlformats.org/drawingml/2006/main" name="24_czerwony">
  <a:themeElements>
    <a:clrScheme name="24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4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4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4.xml><?xml version="1.0" encoding="utf-8"?>
<a:theme xmlns:a="http://schemas.openxmlformats.org/drawingml/2006/main" name="25_czerwony">
  <a:themeElements>
    <a:clrScheme name="25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5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5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5.xml><?xml version="1.0" encoding="utf-8"?>
<a:theme xmlns:a="http://schemas.openxmlformats.org/drawingml/2006/main" name="20_czerwony">
  <a:themeElements>
    <a:clrScheme name="20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0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0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6.xml><?xml version="1.0" encoding="utf-8"?>
<a:theme xmlns:a="http://schemas.openxmlformats.org/drawingml/2006/main" name="26_czerwony">
  <a:themeElements>
    <a:clrScheme name="26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6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6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7.xml><?xml version="1.0" encoding="utf-8"?>
<a:theme xmlns:a="http://schemas.openxmlformats.org/drawingml/2006/main" name="27_czerwony">
  <a:themeElements>
    <a:clrScheme name="27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7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7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8.xml><?xml version="1.0" encoding="utf-8"?>
<a:theme xmlns:a="http://schemas.openxmlformats.org/drawingml/2006/main" name="3_zielony">
  <a:themeElements>
    <a:clrScheme name="3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3_ziel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9.xml><?xml version="1.0" encoding="utf-8"?>
<a:theme xmlns:a="http://schemas.openxmlformats.org/drawingml/2006/main" name="4_zielony">
  <a:themeElements>
    <a:clrScheme name="4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4_ziel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6_czerwony">
  <a:themeElements>
    <a:clrScheme name="6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6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6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0.xml><?xml version="1.0" encoding="utf-8"?>
<a:theme xmlns:a="http://schemas.openxmlformats.org/drawingml/2006/main" name="5_zielony">
  <a:themeElements>
    <a:clrScheme name="5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5_ziel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5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1.xml><?xml version="1.0" encoding="utf-8"?>
<a:theme xmlns:a="http://schemas.openxmlformats.org/drawingml/2006/main" name="6_zielony">
  <a:themeElements>
    <a:clrScheme name="6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6_ziel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6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2.xml><?xml version="1.0" encoding="utf-8"?>
<a:theme xmlns:a="http://schemas.openxmlformats.org/drawingml/2006/main" name="7_ziel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7_zielony">
      <a:majorFont>
        <a:latin typeface="Arial"/>
        <a:ea typeface=""/>
        <a:cs typeface="Arial"/>
      </a:majorFont>
      <a:minorFont>
        <a:latin typeface="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3.xml><?xml version="1.0" encoding="utf-8"?>
<a:theme xmlns:a="http://schemas.openxmlformats.org/drawingml/2006/main" name="28_czerw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8_czerwony">
      <a:majorFont>
        <a:latin typeface="Arial"/>
        <a:ea typeface=""/>
        <a:cs typeface="Arial"/>
      </a:majorFont>
      <a:minorFont>
        <a:latin typeface="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4.xml><?xml version="1.0" encoding="utf-8"?>
<a:theme xmlns:a="http://schemas.openxmlformats.org/drawingml/2006/main" name="Projekt domyślny">
  <a:themeElements>
    <a:clrScheme name="Projekt domyślny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ojekt domyśln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ojekt domyślny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5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6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7_czerwony">
  <a:themeElements>
    <a:clrScheme name="7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7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7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8_czerwony">
  <a:themeElements>
    <a:clrScheme name="8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8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9_czerwony">
  <a:themeElements>
    <a:clrScheme name="9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9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9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0_czerwony">
  <a:themeElements>
    <a:clrScheme name="10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0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1_czerwony">
  <a:themeElements>
    <a:clrScheme name="11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1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1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33</TotalTime>
  <Words>981</Words>
  <Application>Microsoft Office PowerPoint</Application>
  <PresentationFormat>Pokaz na ekranie (4:3)</PresentationFormat>
  <Paragraphs>229</Paragraphs>
  <Slides>11</Slides>
  <Notes>0</Notes>
  <HiddenSlides>0</HiddenSlides>
  <MMClips>0</MMClips>
  <ScaleCrop>false</ScaleCrop>
  <HeadingPairs>
    <vt:vector size="6" baseType="variant">
      <vt:variant>
        <vt:lpstr>Używane czcionki</vt:lpstr>
      </vt:variant>
      <vt:variant>
        <vt:i4>5</vt:i4>
      </vt:variant>
      <vt:variant>
        <vt:lpstr>Motyw</vt:lpstr>
      </vt:variant>
      <vt:variant>
        <vt:i4>44</vt:i4>
      </vt:variant>
      <vt:variant>
        <vt:lpstr>Tytuły slajdów</vt:lpstr>
      </vt:variant>
      <vt:variant>
        <vt:i4>11</vt:i4>
      </vt:variant>
    </vt:vector>
  </HeadingPairs>
  <TitlesOfParts>
    <vt:vector size="60" baseType="lpstr">
      <vt:lpstr>Arial</vt:lpstr>
      <vt:lpstr>Calibri</vt:lpstr>
      <vt:lpstr>Gabriola</vt:lpstr>
      <vt:lpstr>Segoe UI</vt:lpstr>
      <vt:lpstr>Tahoma</vt:lpstr>
      <vt:lpstr>początkowy</vt:lpstr>
      <vt:lpstr>1_czerwony</vt:lpstr>
      <vt:lpstr>3_czerwony</vt:lpstr>
      <vt:lpstr>6_czerwony</vt:lpstr>
      <vt:lpstr>7_czerwony</vt:lpstr>
      <vt:lpstr>8_czerwony</vt:lpstr>
      <vt:lpstr>9_czerwony</vt:lpstr>
      <vt:lpstr>10_czerwony</vt:lpstr>
      <vt:lpstr>11_czerwony</vt:lpstr>
      <vt:lpstr>12_czerwony</vt:lpstr>
      <vt:lpstr>13_czerwony</vt:lpstr>
      <vt:lpstr>14_czerwony</vt:lpstr>
      <vt:lpstr>15_czerwony</vt:lpstr>
      <vt:lpstr>16_czerwony</vt:lpstr>
      <vt:lpstr>17_czerwony</vt:lpstr>
      <vt:lpstr>18_czerwony</vt:lpstr>
      <vt:lpstr>19_czerwony</vt:lpstr>
      <vt:lpstr>pomarańczowy</vt:lpstr>
      <vt:lpstr>1_pomarańczowy</vt:lpstr>
      <vt:lpstr>żółty</vt:lpstr>
      <vt:lpstr>1_żółty</vt:lpstr>
      <vt:lpstr>różowy</vt:lpstr>
      <vt:lpstr>1_różowy</vt:lpstr>
      <vt:lpstr>granatowy</vt:lpstr>
      <vt:lpstr>1_granatowy</vt:lpstr>
      <vt:lpstr>turkusowy</vt:lpstr>
      <vt:lpstr>1_turkusowy</vt:lpstr>
      <vt:lpstr>końcowy</vt:lpstr>
      <vt:lpstr>1_końcowy</vt:lpstr>
      <vt:lpstr>21_czerwony</vt:lpstr>
      <vt:lpstr>22_czerwony</vt:lpstr>
      <vt:lpstr>23_czerwony</vt:lpstr>
      <vt:lpstr>24_czerwony</vt:lpstr>
      <vt:lpstr>25_czerwony</vt:lpstr>
      <vt:lpstr>20_czerwony</vt:lpstr>
      <vt:lpstr>26_czerwony</vt:lpstr>
      <vt:lpstr>27_czerwony</vt:lpstr>
      <vt:lpstr>3_zielony</vt:lpstr>
      <vt:lpstr>4_zielony</vt:lpstr>
      <vt:lpstr>5_zielony</vt:lpstr>
      <vt:lpstr>6_zielony</vt:lpstr>
      <vt:lpstr>7_zielony</vt:lpstr>
      <vt:lpstr>28_czerwony</vt:lpstr>
      <vt:lpstr>Projekt domyślny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Company>TOSHIB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ajd 1</dc:title>
  <dc:creator>Monika Kornacka</dc:creator>
  <cp:lastModifiedBy>Michał Kosmowski</cp:lastModifiedBy>
  <cp:revision>391</cp:revision>
  <cp:lastPrinted>2018-05-18T10:44:48Z</cp:lastPrinted>
  <dcterms:created xsi:type="dcterms:W3CDTF">2013-04-03T19:48:29Z</dcterms:created>
  <dcterms:modified xsi:type="dcterms:W3CDTF">2019-03-25T07:42:17Z</dcterms:modified>
</cp:coreProperties>
</file>